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notesSlides/notesSlide7.xml" ContentType="application/vnd.openxmlformats-officedocument.presentationml.notesSlide+xml"/>
  <Override PartName="/ppt/tags/tag5.xml" ContentType="application/vnd.openxmlformats-officedocument.presentationml.tags+xml"/>
  <Override PartName="/ppt/notesSlides/notesSlide8.xml" ContentType="application/vnd.openxmlformats-officedocument.presentationml.notesSlide+xml"/>
  <Override PartName="/ppt/tags/tag6.xml" ContentType="application/vnd.openxmlformats-officedocument.presentationml.tags+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94" r:id="rId1"/>
    <p:sldMasterId id="2147484421" r:id="rId2"/>
  </p:sldMasterIdLst>
  <p:notesMasterIdLst>
    <p:notesMasterId r:id="rId50"/>
  </p:notesMasterIdLst>
  <p:handoutMasterIdLst>
    <p:handoutMasterId r:id="rId51"/>
  </p:handoutMasterIdLst>
  <p:sldIdLst>
    <p:sldId id="821" r:id="rId3"/>
    <p:sldId id="822" r:id="rId4"/>
    <p:sldId id="844" r:id="rId5"/>
    <p:sldId id="850" r:id="rId6"/>
    <p:sldId id="852" r:id="rId7"/>
    <p:sldId id="853" r:id="rId8"/>
    <p:sldId id="854" r:id="rId9"/>
    <p:sldId id="875" r:id="rId10"/>
    <p:sldId id="876" r:id="rId11"/>
    <p:sldId id="877" r:id="rId12"/>
    <p:sldId id="878" r:id="rId13"/>
    <p:sldId id="879" r:id="rId14"/>
    <p:sldId id="880" r:id="rId15"/>
    <p:sldId id="881" r:id="rId16"/>
    <p:sldId id="882" r:id="rId17"/>
    <p:sldId id="883" r:id="rId18"/>
    <p:sldId id="884" r:id="rId19"/>
    <p:sldId id="885" r:id="rId20"/>
    <p:sldId id="845" r:id="rId21"/>
    <p:sldId id="846" r:id="rId22"/>
    <p:sldId id="847" r:id="rId23"/>
    <p:sldId id="888" r:id="rId24"/>
    <p:sldId id="889" r:id="rId25"/>
    <p:sldId id="895" r:id="rId26"/>
    <p:sldId id="896" r:id="rId27"/>
    <p:sldId id="897" r:id="rId28"/>
    <p:sldId id="898" r:id="rId29"/>
    <p:sldId id="899" r:id="rId30"/>
    <p:sldId id="900" r:id="rId31"/>
    <p:sldId id="901" r:id="rId32"/>
    <p:sldId id="902" r:id="rId33"/>
    <p:sldId id="903" r:id="rId34"/>
    <p:sldId id="904" r:id="rId35"/>
    <p:sldId id="905" r:id="rId36"/>
    <p:sldId id="906" r:id="rId37"/>
    <p:sldId id="907" r:id="rId38"/>
    <p:sldId id="908" r:id="rId39"/>
    <p:sldId id="909" r:id="rId40"/>
    <p:sldId id="910" r:id="rId41"/>
    <p:sldId id="911" r:id="rId42"/>
    <p:sldId id="912" r:id="rId43"/>
    <p:sldId id="913" r:id="rId44"/>
    <p:sldId id="914" r:id="rId45"/>
    <p:sldId id="915" r:id="rId46"/>
    <p:sldId id="916" r:id="rId47"/>
    <p:sldId id="917" r:id="rId48"/>
    <p:sldId id="918" r:id="rId49"/>
  </p:sldIdLst>
  <p:sldSz cx="9144000" cy="6858000" type="screen4x3"/>
  <p:notesSz cx="6797675" cy="9926638"/>
  <p:defaultTextStyle>
    <a:defPPr>
      <a:defRPr lang="en-GB"/>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810"/>
    <a:srgbClr val="0073CF"/>
    <a:srgbClr val="FFD757"/>
    <a:srgbClr val="CCCCFF"/>
    <a:srgbClr val="008000"/>
    <a:srgbClr val="2509F7"/>
    <a:srgbClr val="003300"/>
    <a:srgbClr val="D791C0"/>
    <a:srgbClr val="FFCC99"/>
    <a:srgbClr val="3D13E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38" autoAdjust="0"/>
    <p:restoredTop sz="86357" autoAdjust="0"/>
  </p:normalViewPr>
  <p:slideViewPr>
    <p:cSldViewPr>
      <p:cViewPr varScale="1">
        <p:scale>
          <a:sx n="99" d="100"/>
          <a:sy n="99" d="100"/>
        </p:scale>
        <p:origin x="1992" y="90"/>
      </p:cViewPr>
      <p:guideLst>
        <p:guide orient="horz" pos="2160"/>
        <p:guide pos="2880"/>
      </p:guideLst>
    </p:cSldViewPr>
  </p:slideViewPr>
  <p:notesTextViewPr>
    <p:cViewPr>
      <p:scale>
        <a:sx n="100" d="100"/>
        <a:sy n="100" d="100"/>
      </p:scale>
      <p:origin x="0" y="0"/>
    </p:cViewPr>
  </p:notesText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notesMaster" Target="notesMasters/notesMaster1.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8" Type="http://schemas.openxmlformats.org/officeDocument/2006/relationships/slide" Target="slides/slide6.xml"/><Relationship Id="rId51" Type="http://schemas.openxmlformats.org/officeDocument/2006/relationships/handoutMaster" Target="handoutMasters/handout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Column4</c:v>
                </c:pt>
              </c:strCache>
            </c:strRef>
          </c:tx>
          <c:spPr>
            <a:solidFill>
              <a:schemeClr val="accent4"/>
            </a:solidFill>
            <a:ln>
              <a:solidFill>
                <a:schemeClr val="bg1"/>
              </a:solidFill>
            </a:ln>
          </c:spPr>
          <c:explosion val="2"/>
          <c:dPt>
            <c:idx val="0"/>
            <c:bubble3D val="0"/>
            <c:spPr>
              <a:solidFill>
                <a:srgbClr val="EA560D"/>
              </a:solidFill>
              <a:ln w="19050">
                <a:solidFill>
                  <a:schemeClr val="bg1"/>
                </a:solidFill>
              </a:ln>
              <a:effectLst/>
            </c:spPr>
            <c:extLst>
              <c:ext xmlns:c16="http://schemas.microsoft.com/office/drawing/2014/chart" uri="{C3380CC4-5D6E-409C-BE32-E72D297353CC}">
                <c16:uniqueId val="{00000001-A613-474D-98E8-4DA885A1E6FF}"/>
              </c:ext>
            </c:extLst>
          </c:dPt>
          <c:dPt>
            <c:idx val="1"/>
            <c:bubble3D val="0"/>
            <c:spPr>
              <a:solidFill>
                <a:schemeClr val="accent3"/>
              </a:solidFill>
              <a:ln w="19050">
                <a:solidFill>
                  <a:schemeClr val="bg1"/>
                </a:solidFill>
              </a:ln>
              <a:effectLst/>
            </c:spPr>
            <c:extLst>
              <c:ext xmlns:c16="http://schemas.microsoft.com/office/drawing/2014/chart" uri="{C3380CC4-5D6E-409C-BE32-E72D297353CC}">
                <c16:uniqueId val="{00000003-A613-474D-98E8-4DA885A1E6FF}"/>
              </c:ext>
            </c:extLst>
          </c:dPt>
          <c:dPt>
            <c:idx val="2"/>
            <c:bubble3D val="0"/>
            <c:spPr>
              <a:solidFill>
                <a:srgbClr val="66A639"/>
              </a:solidFill>
              <a:ln w="19050">
                <a:solidFill>
                  <a:schemeClr val="bg1"/>
                </a:solidFill>
              </a:ln>
              <a:effectLst/>
            </c:spPr>
            <c:extLst>
              <c:ext xmlns:c16="http://schemas.microsoft.com/office/drawing/2014/chart" uri="{C3380CC4-5D6E-409C-BE32-E72D297353CC}">
                <c16:uniqueId val="{00000005-A613-474D-98E8-4DA885A1E6FF}"/>
              </c:ext>
            </c:extLst>
          </c:dPt>
          <c:dPt>
            <c:idx val="3"/>
            <c:bubble3D val="0"/>
            <c:spPr>
              <a:solidFill>
                <a:srgbClr val="F0802D"/>
              </a:solidFill>
              <a:ln w="19050">
                <a:solidFill>
                  <a:schemeClr val="bg1"/>
                </a:solidFill>
              </a:ln>
              <a:effectLst/>
            </c:spPr>
            <c:extLst>
              <c:ext xmlns:c16="http://schemas.microsoft.com/office/drawing/2014/chart" uri="{C3380CC4-5D6E-409C-BE32-E72D297353CC}">
                <c16:uniqueId val="{00000007-A613-474D-98E8-4DA885A1E6FF}"/>
              </c:ext>
            </c:extLst>
          </c:dPt>
          <c:dPt>
            <c:idx val="4"/>
            <c:bubble3D val="0"/>
            <c:spPr>
              <a:solidFill>
                <a:srgbClr val="C3D669"/>
              </a:solidFill>
              <a:ln w="19050">
                <a:solidFill>
                  <a:schemeClr val="bg1"/>
                </a:solidFill>
              </a:ln>
              <a:effectLst/>
            </c:spPr>
            <c:extLst>
              <c:ext xmlns:c16="http://schemas.microsoft.com/office/drawing/2014/chart" uri="{C3380CC4-5D6E-409C-BE32-E72D297353CC}">
                <c16:uniqueId val="{00000009-A613-474D-98E8-4DA885A1E6FF}"/>
              </c:ext>
            </c:extLst>
          </c:dPt>
          <c:dPt>
            <c:idx val="5"/>
            <c:bubble3D val="0"/>
            <c:spPr>
              <a:solidFill>
                <a:schemeClr val="accent4"/>
              </a:solidFill>
              <a:ln w="19050">
                <a:solidFill>
                  <a:schemeClr val="bg1"/>
                </a:solidFill>
              </a:ln>
              <a:effectLst/>
            </c:spPr>
            <c:extLst>
              <c:ext xmlns:c16="http://schemas.microsoft.com/office/drawing/2014/chart" uri="{C3380CC4-5D6E-409C-BE32-E72D297353CC}">
                <c16:uniqueId val="{0000000B-A613-474D-98E8-4DA885A1E6FF}"/>
              </c:ext>
            </c:extLst>
          </c:dPt>
          <c:cat>
            <c:strRef>
              <c:f>Sheet1!$A$2:$A$6</c:f>
              <c:strCache>
                <c:ptCount val="5"/>
                <c:pt idx="0">
                  <c:v>Management information, data and reporting</c:v>
                </c:pt>
                <c:pt idx="1">
                  <c:v>Systems and tools</c:v>
                </c:pt>
                <c:pt idx="2">
                  <c:v>Processes and policies</c:v>
                </c:pt>
                <c:pt idx="3">
                  <c:v>People and organisation</c:v>
                </c:pt>
                <c:pt idx="4">
                  <c:v>Governance and control</c:v>
                </c:pt>
              </c:strCache>
            </c:strRef>
          </c:cat>
          <c:val>
            <c:numRef>
              <c:f>Sheet1!$B$2:$B$6</c:f>
              <c:numCache>
                <c:formatCode>0%</c:formatCode>
                <c:ptCount val="5"/>
                <c:pt idx="0">
                  <c:v>0.14663951120162932</c:v>
                </c:pt>
                <c:pt idx="1">
                  <c:v>0.26</c:v>
                </c:pt>
                <c:pt idx="2">
                  <c:v>0.41</c:v>
                </c:pt>
                <c:pt idx="3">
                  <c:v>0.17</c:v>
                </c:pt>
                <c:pt idx="4">
                  <c:v>1.2219959266802444E-2</c:v>
                </c:pt>
              </c:numCache>
            </c:numRef>
          </c:val>
          <c:extLst>
            <c:ext xmlns:c16="http://schemas.microsoft.com/office/drawing/2014/chart" uri="{C3380CC4-5D6E-409C-BE32-E72D297353CC}">
              <c16:uniqueId val="{0000000C-A613-474D-98E8-4DA885A1E6FF}"/>
            </c:ext>
          </c:extLst>
        </c:ser>
        <c:dLbls>
          <c:showLegendKey val="0"/>
          <c:showVal val="0"/>
          <c:showCatName val="0"/>
          <c:showSerName val="0"/>
          <c:showPercent val="0"/>
          <c:showBubbleSize val="0"/>
          <c:showLeaderLines val="1"/>
        </c:dLbls>
        <c:firstSliceAng val="0"/>
        <c:holeSize val="70"/>
      </c:doughnutChart>
      <c:spPr>
        <a:noFill/>
        <a:ln>
          <a:noFill/>
        </a:ln>
        <a:effectLst/>
      </c:spPr>
    </c:plotArea>
    <c:legend>
      <c:legendPos val="b"/>
      <c:legendEntry>
        <c:idx val="0"/>
        <c:txPr>
          <a:bodyPr rot="0" spcFirstLastPara="1" vertOverflow="ellipsis" vert="horz" wrap="square" anchor="ctr" anchorCtr="1"/>
          <a:lstStyle/>
          <a:p>
            <a:pPr>
              <a:defRPr sz="900" b="0" i="0" u="none" strike="noStrike" kern="1200" baseline="0">
                <a:solidFill>
                  <a:schemeClr val="accent6">
                    <a:lumMod val="10000"/>
                  </a:schemeClr>
                </a:solidFill>
                <a:latin typeface="+mn-lt"/>
                <a:ea typeface="+mn-ea"/>
                <a:cs typeface="+mn-cs"/>
              </a:defRPr>
            </a:pPr>
            <a:endParaRPr lang="en-US"/>
          </a:p>
        </c:txPr>
      </c:legendEntry>
      <c:legendEntry>
        <c:idx val="1"/>
        <c:txPr>
          <a:bodyPr rot="0" spcFirstLastPara="1" vertOverflow="ellipsis" vert="horz" wrap="square" anchor="ctr" anchorCtr="1"/>
          <a:lstStyle/>
          <a:p>
            <a:pPr algn="just">
              <a:defRPr sz="900" b="0" i="0" u="none" strike="noStrike" kern="1200" baseline="0">
                <a:solidFill>
                  <a:schemeClr val="accent6">
                    <a:lumMod val="10000"/>
                  </a:schemeClr>
                </a:solidFill>
                <a:latin typeface="+mn-lt"/>
                <a:ea typeface="+mn-ea"/>
                <a:cs typeface="+mn-cs"/>
              </a:defRPr>
            </a:pPr>
            <a:endParaRPr lang="en-US"/>
          </a:p>
        </c:txPr>
      </c:legendEntry>
      <c:legendEntry>
        <c:idx val="2"/>
        <c:txPr>
          <a:bodyPr rot="0" spcFirstLastPara="1" vertOverflow="ellipsis" vert="horz" wrap="square" anchor="ctr" anchorCtr="1"/>
          <a:lstStyle/>
          <a:p>
            <a:pPr>
              <a:defRPr sz="900" b="0" i="0" u="none" strike="noStrike" kern="1200" baseline="0">
                <a:solidFill>
                  <a:schemeClr val="accent6">
                    <a:lumMod val="10000"/>
                  </a:schemeClr>
                </a:solidFill>
                <a:latin typeface="+mn-lt"/>
                <a:ea typeface="+mn-ea"/>
                <a:cs typeface="+mn-cs"/>
              </a:defRPr>
            </a:pPr>
            <a:endParaRPr lang="en-US"/>
          </a:p>
        </c:txPr>
      </c:legendEntry>
      <c:legendEntry>
        <c:idx val="3"/>
        <c:txPr>
          <a:bodyPr rot="0" spcFirstLastPara="1" vertOverflow="ellipsis" vert="horz" wrap="square" anchor="ctr" anchorCtr="1"/>
          <a:lstStyle/>
          <a:p>
            <a:pPr>
              <a:defRPr sz="900" b="0" i="0" u="none" strike="noStrike" kern="1200" baseline="0">
                <a:solidFill>
                  <a:schemeClr val="accent6">
                    <a:lumMod val="10000"/>
                  </a:schemeClr>
                </a:solidFill>
                <a:latin typeface="+mn-lt"/>
                <a:ea typeface="+mn-ea"/>
                <a:cs typeface="+mn-cs"/>
              </a:defRPr>
            </a:pPr>
            <a:endParaRPr lang="en-US"/>
          </a:p>
        </c:txPr>
      </c:legendEntry>
      <c:legendEntry>
        <c:idx val="4"/>
        <c:txPr>
          <a:bodyPr rot="0" spcFirstLastPara="1" vertOverflow="ellipsis" vert="horz" wrap="square" anchor="ctr" anchorCtr="1"/>
          <a:lstStyle/>
          <a:p>
            <a:pPr>
              <a:defRPr sz="900" b="0" i="0" u="none" strike="noStrike" kern="1200" baseline="0">
                <a:solidFill>
                  <a:schemeClr val="accent6">
                    <a:lumMod val="10000"/>
                  </a:schemeClr>
                </a:solidFill>
                <a:latin typeface="+mn-lt"/>
                <a:ea typeface="+mn-ea"/>
                <a:cs typeface="+mn-cs"/>
              </a:defRPr>
            </a:pPr>
            <a:endParaRPr lang="en-US"/>
          </a:p>
        </c:txPr>
      </c:legendEntry>
      <c:layout>
        <c:manualLayout>
          <c:xMode val="edge"/>
          <c:yMode val="edge"/>
          <c:x val="5.831944473373288E-3"/>
          <c:y val="0.66526377277000459"/>
          <c:w val="0.28220884993358486"/>
          <c:h val="0.31970678222934301"/>
        </c:manualLayout>
      </c:layout>
      <c:overlay val="0"/>
      <c:spPr>
        <a:solidFill>
          <a:schemeClr val="lt1"/>
        </a:solidFill>
        <a:ln w="12700" cap="flat" cmpd="sng" algn="ctr">
          <a:solidFill>
            <a:schemeClr val="accent4"/>
          </a:solidFill>
          <a:prstDash val="solid"/>
          <a:miter lim="800000"/>
        </a:ln>
        <a:effectLst/>
      </c:spPr>
      <c:txPr>
        <a:bodyPr rot="0" spcFirstLastPara="1" vertOverflow="ellipsis" vert="horz" wrap="square" anchor="ctr" anchorCtr="1"/>
        <a:lstStyle/>
        <a:p>
          <a:pPr>
            <a:defRPr sz="1197" b="0" i="0" u="none" strike="noStrike" kern="1200" baseline="0">
              <a:solidFill>
                <a:schemeClr val="accent6">
                  <a:lumMod val="10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A70BD4-9EA7-4D19-955B-B11BBE2BE08A}" type="doc">
      <dgm:prSet loTypeId="urn:microsoft.com/office/officeart/2008/layout/AlternatingHexagons" loCatId="list" qsTypeId="urn:microsoft.com/office/officeart/2005/8/quickstyle/simple1" qsCatId="simple" csTypeId="urn:microsoft.com/office/officeart/2005/8/colors/colorful5" csCatId="colorful" phldr="1"/>
      <dgm:spPr/>
      <dgm:t>
        <a:bodyPr/>
        <a:lstStyle/>
        <a:p>
          <a:endParaRPr lang="en-US"/>
        </a:p>
      </dgm:t>
    </dgm:pt>
    <dgm:pt modelId="{737191E9-5FFB-4617-9194-017EAD4424B6}">
      <dgm:prSet phldrT="[Text]" custT="1"/>
      <dgm:spPr/>
      <dgm:t>
        <a:bodyPr/>
        <a:lstStyle/>
        <a:p>
          <a:r>
            <a:rPr lang="en-US" sz="1600" b="1" dirty="0" smtClean="0">
              <a:solidFill>
                <a:schemeClr val="tx1"/>
              </a:solidFill>
            </a:rPr>
            <a:t>Central &amp; Research Accs.</a:t>
          </a:r>
          <a:endParaRPr lang="en-US" sz="1600" b="1" dirty="0">
            <a:solidFill>
              <a:schemeClr val="tx1"/>
            </a:solidFill>
          </a:endParaRPr>
        </a:p>
      </dgm:t>
    </dgm:pt>
    <dgm:pt modelId="{9B0492F5-80DE-45A9-B16B-B5E463ACC655}" type="parTrans" cxnId="{37ECF017-2F0A-413A-9B5F-D0DB2DC78BE8}">
      <dgm:prSet/>
      <dgm:spPr/>
      <dgm:t>
        <a:bodyPr/>
        <a:lstStyle/>
        <a:p>
          <a:endParaRPr lang="en-US"/>
        </a:p>
      </dgm:t>
    </dgm:pt>
    <dgm:pt modelId="{17DF17F3-1546-4809-B927-170925BB76B7}" type="sibTrans" cxnId="{37ECF017-2F0A-413A-9B5F-D0DB2DC78BE8}">
      <dgm:prSet custT="1"/>
      <dgm:spPr/>
      <dgm:t>
        <a:bodyPr/>
        <a:lstStyle/>
        <a:p>
          <a:r>
            <a:rPr lang="en-US" sz="1800" b="1" dirty="0" smtClean="0">
              <a:solidFill>
                <a:schemeClr val="tx1"/>
              </a:solidFill>
            </a:rPr>
            <a:t>AP &amp; Cashier</a:t>
          </a:r>
          <a:endParaRPr lang="en-US" sz="1800" b="1" dirty="0">
            <a:solidFill>
              <a:schemeClr val="tx1"/>
            </a:solidFill>
          </a:endParaRPr>
        </a:p>
      </dgm:t>
    </dgm:pt>
    <dgm:pt modelId="{44806FE2-7675-47C4-B096-BD7C2EC9275B}">
      <dgm:prSet phldrT="[Text]"/>
      <dgm:spPr/>
      <dgm:t>
        <a:bodyPr/>
        <a:lstStyle/>
        <a:p>
          <a:endParaRPr lang="en-US" b="1" dirty="0"/>
        </a:p>
      </dgm:t>
    </dgm:pt>
    <dgm:pt modelId="{A0880616-C153-4971-8B33-D87E030C08D7}" type="parTrans" cxnId="{CC384A1A-D536-42D9-B22A-34FE3AA553F2}">
      <dgm:prSet/>
      <dgm:spPr/>
      <dgm:t>
        <a:bodyPr/>
        <a:lstStyle/>
        <a:p>
          <a:endParaRPr lang="en-US"/>
        </a:p>
      </dgm:t>
    </dgm:pt>
    <dgm:pt modelId="{AD8B8D55-A7EA-4775-B220-502B194669B3}" type="sibTrans" cxnId="{CC384A1A-D536-42D9-B22A-34FE3AA553F2}">
      <dgm:prSet/>
      <dgm:spPr/>
      <dgm:t>
        <a:bodyPr/>
        <a:lstStyle/>
        <a:p>
          <a:endParaRPr lang="en-US"/>
        </a:p>
      </dgm:t>
    </dgm:pt>
    <dgm:pt modelId="{E8E336BA-52BB-4D1A-B334-E1917C5AF7B1}">
      <dgm:prSet phldrT="[Text]" custT="1"/>
      <dgm:spPr/>
      <dgm:t>
        <a:bodyPr/>
        <a:lstStyle/>
        <a:p>
          <a:r>
            <a:rPr lang="en-US" sz="1600" b="1" dirty="0" smtClean="0">
              <a:solidFill>
                <a:schemeClr val="tx1"/>
              </a:solidFill>
            </a:rPr>
            <a:t>Helpdesk &amp; Cash Mang.</a:t>
          </a:r>
          <a:endParaRPr lang="en-US" sz="1600" b="1" dirty="0">
            <a:solidFill>
              <a:schemeClr val="tx1"/>
            </a:solidFill>
          </a:endParaRPr>
        </a:p>
      </dgm:t>
    </dgm:pt>
    <dgm:pt modelId="{3053AB00-415D-4E07-B12C-A2B6D32F0190}" type="parTrans" cxnId="{510B8C4A-64BC-4720-8C36-B42A17E162C5}">
      <dgm:prSet/>
      <dgm:spPr/>
      <dgm:t>
        <a:bodyPr/>
        <a:lstStyle/>
        <a:p>
          <a:endParaRPr lang="en-US"/>
        </a:p>
      </dgm:t>
    </dgm:pt>
    <dgm:pt modelId="{C92611A3-305C-441A-8278-B5CC77191016}" type="sibTrans" cxnId="{510B8C4A-64BC-4720-8C36-B42A17E162C5}">
      <dgm:prSet custT="1"/>
      <dgm:spPr/>
      <dgm:t>
        <a:bodyPr/>
        <a:lstStyle/>
        <a:p>
          <a:r>
            <a:rPr lang="en-US" sz="1800" b="1" dirty="0" smtClean="0">
              <a:solidFill>
                <a:schemeClr val="tx1"/>
              </a:solidFill>
            </a:rPr>
            <a:t>Finance Systems Group</a:t>
          </a:r>
          <a:endParaRPr lang="en-US" sz="1800" b="1" dirty="0">
            <a:solidFill>
              <a:schemeClr val="tx1"/>
            </a:solidFill>
          </a:endParaRPr>
        </a:p>
      </dgm:t>
    </dgm:pt>
    <dgm:pt modelId="{23112ED6-D38E-4290-9FF4-E77ED2298AB3}">
      <dgm:prSet phldrT="[Text]"/>
      <dgm:spPr/>
      <dgm:t>
        <a:bodyPr/>
        <a:lstStyle/>
        <a:p>
          <a:endParaRPr lang="en-US" b="1" dirty="0"/>
        </a:p>
      </dgm:t>
    </dgm:pt>
    <dgm:pt modelId="{2A4C1078-FCF5-413A-B6A4-6CEFB43C02DB}" type="parTrans" cxnId="{A31F98A4-22A0-44DB-B51E-59B896A267BE}">
      <dgm:prSet/>
      <dgm:spPr/>
      <dgm:t>
        <a:bodyPr/>
        <a:lstStyle/>
        <a:p>
          <a:endParaRPr lang="en-US"/>
        </a:p>
      </dgm:t>
    </dgm:pt>
    <dgm:pt modelId="{BFC31014-3E75-41D9-9AC3-D186014F4F92}" type="sibTrans" cxnId="{A31F98A4-22A0-44DB-B51E-59B896A267BE}">
      <dgm:prSet/>
      <dgm:spPr/>
      <dgm:t>
        <a:bodyPr/>
        <a:lstStyle/>
        <a:p>
          <a:endParaRPr lang="en-US"/>
        </a:p>
      </dgm:t>
    </dgm:pt>
    <dgm:pt modelId="{DD290839-A022-4ADA-9E0E-4E18D7BC8568}">
      <dgm:prSet phldrT="[Text]" custT="1"/>
      <dgm:spPr/>
      <dgm:t>
        <a:bodyPr/>
        <a:lstStyle/>
        <a:p>
          <a:r>
            <a:rPr lang="en-US" sz="1800" b="1" dirty="0" smtClean="0">
              <a:solidFill>
                <a:schemeClr val="tx1"/>
              </a:solidFill>
            </a:rPr>
            <a:t>Credit Control</a:t>
          </a:r>
          <a:endParaRPr lang="en-US" sz="1800" b="1" dirty="0">
            <a:solidFill>
              <a:schemeClr val="tx1"/>
            </a:solidFill>
          </a:endParaRPr>
        </a:p>
      </dgm:t>
    </dgm:pt>
    <dgm:pt modelId="{64A9FEA5-1A60-4D36-910D-2C602E544154}" type="parTrans" cxnId="{25511B73-F632-4FD1-8E0D-969C8C993F76}">
      <dgm:prSet/>
      <dgm:spPr/>
      <dgm:t>
        <a:bodyPr/>
        <a:lstStyle/>
        <a:p>
          <a:endParaRPr lang="en-US"/>
        </a:p>
      </dgm:t>
    </dgm:pt>
    <dgm:pt modelId="{9B57E119-5657-4DA0-A041-587875DA6150}" type="sibTrans" cxnId="{25511B73-F632-4FD1-8E0D-969C8C993F76}">
      <dgm:prSet/>
      <dgm:spPr/>
      <dgm:t>
        <a:bodyPr/>
        <a:lstStyle/>
        <a:p>
          <a:r>
            <a:rPr lang="en-US" dirty="0" smtClean="0"/>
            <a:t>GHOST</a:t>
          </a:r>
          <a:endParaRPr lang="en-US" dirty="0"/>
        </a:p>
      </dgm:t>
    </dgm:pt>
    <dgm:pt modelId="{AFF97E0D-88A1-4F34-9C5E-E1C63C3F3C92}">
      <dgm:prSet phldrT="[Text]"/>
      <dgm:spPr/>
      <dgm:t>
        <a:bodyPr/>
        <a:lstStyle/>
        <a:p>
          <a:endParaRPr lang="en-US" dirty="0"/>
        </a:p>
      </dgm:t>
    </dgm:pt>
    <dgm:pt modelId="{F058716E-1C9C-4094-A9EF-C907CBC0C7FF}" type="parTrans" cxnId="{A314AF94-A816-4B14-BCF1-93E73D2DCEE8}">
      <dgm:prSet/>
      <dgm:spPr/>
      <dgm:t>
        <a:bodyPr/>
        <a:lstStyle/>
        <a:p>
          <a:endParaRPr lang="en-US"/>
        </a:p>
      </dgm:t>
    </dgm:pt>
    <dgm:pt modelId="{928BB801-8333-4D5A-9FBE-2A2A63E21AB5}" type="sibTrans" cxnId="{A314AF94-A816-4B14-BCF1-93E73D2DCEE8}">
      <dgm:prSet/>
      <dgm:spPr/>
      <dgm:t>
        <a:bodyPr/>
        <a:lstStyle/>
        <a:p>
          <a:endParaRPr lang="en-US"/>
        </a:p>
      </dgm:t>
    </dgm:pt>
    <dgm:pt modelId="{6F4D1328-6751-4193-9EA3-9A4BD9A3DDAE}" type="pres">
      <dgm:prSet presAssocID="{E9A70BD4-9EA7-4D19-955B-B11BBE2BE08A}" presName="Name0" presStyleCnt="0">
        <dgm:presLayoutVars>
          <dgm:chMax/>
          <dgm:chPref/>
          <dgm:dir/>
          <dgm:animLvl val="lvl"/>
        </dgm:presLayoutVars>
      </dgm:prSet>
      <dgm:spPr/>
      <dgm:t>
        <a:bodyPr/>
        <a:lstStyle/>
        <a:p>
          <a:endParaRPr lang="en-US"/>
        </a:p>
      </dgm:t>
    </dgm:pt>
    <dgm:pt modelId="{5E4C97D1-B104-420A-BA57-FB34AA52BB49}" type="pres">
      <dgm:prSet presAssocID="{737191E9-5FFB-4617-9194-017EAD4424B6}" presName="composite" presStyleCnt="0"/>
      <dgm:spPr/>
    </dgm:pt>
    <dgm:pt modelId="{144BDCAE-C9D7-42E7-B94B-F0CC138D5AE1}" type="pres">
      <dgm:prSet presAssocID="{737191E9-5FFB-4617-9194-017EAD4424B6}" presName="Parent1" presStyleLbl="node1" presStyleIdx="0" presStyleCnt="6">
        <dgm:presLayoutVars>
          <dgm:chMax val="1"/>
          <dgm:chPref val="1"/>
          <dgm:bulletEnabled val="1"/>
        </dgm:presLayoutVars>
      </dgm:prSet>
      <dgm:spPr/>
      <dgm:t>
        <a:bodyPr/>
        <a:lstStyle/>
        <a:p>
          <a:endParaRPr lang="en-US"/>
        </a:p>
      </dgm:t>
    </dgm:pt>
    <dgm:pt modelId="{2CAF7217-13E5-4CC3-B0B6-4FFCA7ADB28E}" type="pres">
      <dgm:prSet presAssocID="{737191E9-5FFB-4617-9194-017EAD4424B6}" presName="Childtext1" presStyleLbl="revTx" presStyleIdx="0" presStyleCnt="3">
        <dgm:presLayoutVars>
          <dgm:chMax val="0"/>
          <dgm:chPref val="0"/>
          <dgm:bulletEnabled val="1"/>
        </dgm:presLayoutVars>
      </dgm:prSet>
      <dgm:spPr/>
      <dgm:t>
        <a:bodyPr/>
        <a:lstStyle/>
        <a:p>
          <a:endParaRPr lang="en-US"/>
        </a:p>
      </dgm:t>
    </dgm:pt>
    <dgm:pt modelId="{02C06F5D-7C41-4545-AF76-5177C3EEDFDF}" type="pres">
      <dgm:prSet presAssocID="{737191E9-5FFB-4617-9194-017EAD4424B6}" presName="BalanceSpacing" presStyleCnt="0"/>
      <dgm:spPr/>
    </dgm:pt>
    <dgm:pt modelId="{7FFE86CA-B091-4942-9271-AC8817A08126}" type="pres">
      <dgm:prSet presAssocID="{737191E9-5FFB-4617-9194-017EAD4424B6}" presName="BalanceSpacing1" presStyleCnt="0"/>
      <dgm:spPr/>
    </dgm:pt>
    <dgm:pt modelId="{97098015-F64A-4912-86F3-19E2B3FCA903}" type="pres">
      <dgm:prSet presAssocID="{17DF17F3-1546-4809-B927-170925BB76B7}" presName="Accent1Text" presStyleLbl="node1" presStyleIdx="1" presStyleCnt="6" custLinFactNeighborX="-5651" custLinFactNeighborY="-2458"/>
      <dgm:spPr/>
      <dgm:t>
        <a:bodyPr/>
        <a:lstStyle/>
        <a:p>
          <a:endParaRPr lang="en-US"/>
        </a:p>
      </dgm:t>
    </dgm:pt>
    <dgm:pt modelId="{00C8A246-4BFB-40F4-B541-9497E506E3FF}" type="pres">
      <dgm:prSet presAssocID="{17DF17F3-1546-4809-B927-170925BB76B7}" presName="spaceBetweenRectangles" presStyleCnt="0"/>
      <dgm:spPr/>
    </dgm:pt>
    <dgm:pt modelId="{EDFD971C-0639-4C2C-AFA6-9DDEAD431063}" type="pres">
      <dgm:prSet presAssocID="{E8E336BA-52BB-4D1A-B334-E1917C5AF7B1}" presName="composite" presStyleCnt="0"/>
      <dgm:spPr/>
    </dgm:pt>
    <dgm:pt modelId="{E38766EB-C465-4893-BBEC-DDE44B661F20}" type="pres">
      <dgm:prSet presAssocID="{E8E336BA-52BB-4D1A-B334-E1917C5AF7B1}" presName="Parent1" presStyleLbl="node1" presStyleIdx="2" presStyleCnt="6" custLinFactNeighborY="0">
        <dgm:presLayoutVars>
          <dgm:chMax val="1"/>
          <dgm:chPref val="1"/>
          <dgm:bulletEnabled val="1"/>
        </dgm:presLayoutVars>
      </dgm:prSet>
      <dgm:spPr/>
      <dgm:t>
        <a:bodyPr/>
        <a:lstStyle/>
        <a:p>
          <a:endParaRPr lang="en-US"/>
        </a:p>
      </dgm:t>
    </dgm:pt>
    <dgm:pt modelId="{B97BA2A7-AF95-4001-AB17-AA57672F9786}" type="pres">
      <dgm:prSet presAssocID="{E8E336BA-52BB-4D1A-B334-E1917C5AF7B1}" presName="Childtext1" presStyleLbl="revTx" presStyleIdx="1" presStyleCnt="3">
        <dgm:presLayoutVars>
          <dgm:chMax val="0"/>
          <dgm:chPref val="0"/>
          <dgm:bulletEnabled val="1"/>
        </dgm:presLayoutVars>
      </dgm:prSet>
      <dgm:spPr/>
      <dgm:t>
        <a:bodyPr/>
        <a:lstStyle/>
        <a:p>
          <a:endParaRPr lang="en-US"/>
        </a:p>
      </dgm:t>
    </dgm:pt>
    <dgm:pt modelId="{F8F73D51-3802-4199-870C-D6EF46865EAE}" type="pres">
      <dgm:prSet presAssocID="{E8E336BA-52BB-4D1A-B334-E1917C5AF7B1}" presName="BalanceSpacing" presStyleCnt="0"/>
      <dgm:spPr/>
    </dgm:pt>
    <dgm:pt modelId="{221499A9-0ECD-44B5-914A-E9F04C3FFF75}" type="pres">
      <dgm:prSet presAssocID="{E8E336BA-52BB-4D1A-B334-E1917C5AF7B1}" presName="BalanceSpacing1" presStyleCnt="0"/>
      <dgm:spPr/>
    </dgm:pt>
    <dgm:pt modelId="{1B45B7E6-A077-4655-B989-54399018821A}" type="pres">
      <dgm:prSet presAssocID="{C92611A3-305C-441A-8278-B5CC77191016}" presName="Accent1Text" presStyleLbl="node1" presStyleIdx="3" presStyleCnt="6"/>
      <dgm:spPr/>
      <dgm:t>
        <a:bodyPr/>
        <a:lstStyle/>
        <a:p>
          <a:endParaRPr lang="en-US"/>
        </a:p>
      </dgm:t>
    </dgm:pt>
    <dgm:pt modelId="{5D03DDA5-A527-4C5D-A3D3-B6F5AF893FA1}" type="pres">
      <dgm:prSet presAssocID="{C92611A3-305C-441A-8278-B5CC77191016}" presName="spaceBetweenRectangles" presStyleCnt="0"/>
      <dgm:spPr/>
    </dgm:pt>
    <dgm:pt modelId="{B3BD609E-79C3-42C2-9D33-D5A295250E37}" type="pres">
      <dgm:prSet presAssocID="{DD290839-A022-4ADA-9E0E-4E18D7BC8568}" presName="composite" presStyleCnt="0"/>
      <dgm:spPr/>
    </dgm:pt>
    <dgm:pt modelId="{8E464150-142E-4CD1-B09B-9F8B4A942C5D}" type="pres">
      <dgm:prSet presAssocID="{DD290839-A022-4ADA-9E0E-4E18D7BC8568}" presName="Parent1" presStyleLbl="node1" presStyleIdx="4" presStyleCnt="6">
        <dgm:presLayoutVars>
          <dgm:chMax val="1"/>
          <dgm:chPref val="1"/>
          <dgm:bulletEnabled val="1"/>
        </dgm:presLayoutVars>
      </dgm:prSet>
      <dgm:spPr/>
      <dgm:t>
        <a:bodyPr/>
        <a:lstStyle/>
        <a:p>
          <a:endParaRPr lang="en-US"/>
        </a:p>
      </dgm:t>
    </dgm:pt>
    <dgm:pt modelId="{667C2B3B-8FC4-486E-9CBA-E1546240DCC2}" type="pres">
      <dgm:prSet presAssocID="{DD290839-A022-4ADA-9E0E-4E18D7BC8568}" presName="Childtext1" presStyleLbl="revTx" presStyleIdx="2" presStyleCnt="3">
        <dgm:presLayoutVars>
          <dgm:chMax val="0"/>
          <dgm:chPref val="0"/>
          <dgm:bulletEnabled val="1"/>
        </dgm:presLayoutVars>
      </dgm:prSet>
      <dgm:spPr/>
      <dgm:t>
        <a:bodyPr/>
        <a:lstStyle/>
        <a:p>
          <a:endParaRPr lang="en-US"/>
        </a:p>
      </dgm:t>
    </dgm:pt>
    <dgm:pt modelId="{9FE926FC-015E-470E-A806-718A64170C9D}" type="pres">
      <dgm:prSet presAssocID="{DD290839-A022-4ADA-9E0E-4E18D7BC8568}" presName="BalanceSpacing" presStyleCnt="0"/>
      <dgm:spPr/>
    </dgm:pt>
    <dgm:pt modelId="{9B519B66-BB0E-48EA-A42F-2E8CBBD424E4}" type="pres">
      <dgm:prSet presAssocID="{DD290839-A022-4ADA-9E0E-4E18D7BC8568}" presName="BalanceSpacing1" presStyleCnt="0"/>
      <dgm:spPr/>
    </dgm:pt>
    <dgm:pt modelId="{E69703B2-57EA-4E08-B665-9C928210D56F}" type="pres">
      <dgm:prSet presAssocID="{9B57E119-5657-4DA0-A041-587875DA6150}" presName="Accent1Text" presStyleLbl="node1" presStyleIdx="5" presStyleCnt="6"/>
      <dgm:spPr/>
      <dgm:t>
        <a:bodyPr/>
        <a:lstStyle/>
        <a:p>
          <a:endParaRPr lang="en-US"/>
        </a:p>
      </dgm:t>
    </dgm:pt>
  </dgm:ptLst>
  <dgm:cxnLst>
    <dgm:cxn modelId="{B265B92A-D2E1-40BC-B8F9-0788DD9B7EDA}" type="presOf" srcId="{E9A70BD4-9EA7-4D19-955B-B11BBE2BE08A}" destId="{6F4D1328-6751-4193-9EA3-9A4BD9A3DDAE}" srcOrd="0" destOrd="0" presId="urn:microsoft.com/office/officeart/2008/layout/AlternatingHexagons"/>
    <dgm:cxn modelId="{BD0F0FC2-A4FA-4C6F-B336-C19D2256B935}" type="presOf" srcId="{17DF17F3-1546-4809-B927-170925BB76B7}" destId="{97098015-F64A-4912-86F3-19E2B3FCA903}" srcOrd="0" destOrd="0" presId="urn:microsoft.com/office/officeart/2008/layout/AlternatingHexagons"/>
    <dgm:cxn modelId="{A31F98A4-22A0-44DB-B51E-59B896A267BE}" srcId="{E8E336BA-52BB-4D1A-B334-E1917C5AF7B1}" destId="{23112ED6-D38E-4290-9FF4-E77ED2298AB3}" srcOrd="0" destOrd="0" parTransId="{2A4C1078-FCF5-413A-B6A4-6CEFB43C02DB}" sibTransId="{BFC31014-3E75-41D9-9AC3-D186014F4F92}"/>
    <dgm:cxn modelId="{A314AF94-A816-4B14-BCF1-93E73D2DCEE8}" srcId="{DD290839-A022-4ADA-9E0E-4E18D7BC8568}" destId="{AFF97E0D-88A1-4F34-9C5E-E1C63C3F3C92}" srcOrd="0" destOrd="0" parTransId="{F058716E-1C9C-4094-A9EF-C907CBC0C7FF}" sibTransId="{928BB801-8333-4D5A-9FBE-2A2A63E21AB5}"/>
    <dgm:cxn modelId="{510B8C4A-64BC-4720-8C36-B42A17E162C5}" srcId="{E9A70BD4-9EA7-4D19-955B-B11BBE2BE08A}" destId="{E8E336BA-52BB-4D1A-B334-E1917C5AF7B1}" srcOrd="1" destOrd="0" parTransId="{3053AB00-415D-4E07-B12C-A2B6D32F0190}" sibTransId="{C92611A3-305C-441A-8278-B5CC77191016}"/>
    <dgm:cxn modelId="{25511B73-F632-4FD1-8E0D-969C8C993F76}" srcId="{E9A70BD4-9EA7-4D19-955B-B11BBE2BE08A}" destId="{DD290839-A022-4ADA-9E0E-4E18D7BC8568}" srcOrd="2" destOrd="0" parTransId="{64A9FEA5-1A60-4D36-910D-2C602E544154}" sibTransId="{9B57E119-5657-4DA0-A041-587875DA6150}"/>
    <dgm:cxn modelId="{28E379B1-5503-4DE6-8AB8-6AB5EC5C975C}" type="presOf" srcId="{737191E9-5FFB-4617-9194-017EAD4424B6}" destId="{144BDCAE-C9D7-42E7-B94B-F0CC138D5AE1}" srcOrd="0" destOrd="0" presId="urn:microsoft.com/office/officeart/2008/layout/AlternatingHexagons"/>
    <dgm:cxn modelId="{94A05E55-E2DE-4728-9447-A2C64405C5DE}" type="presOf" srcId="{AFF97E0D-88A1-4F34-9C5E-E1C63C3F3C92}" destId="{667C2B3B-8FC4-486E-9CBA-E1546240DCC2}" srcOrd="0" destOrd="0" presId="urn:microsoft.com/office/officeart/2008/layout/AlternatingHexagons"/>
    <dgm:cxn modelId="{2C8398B1-718C-495E-9F72-48C7CFBEC54B}" type="presOf" srcId="{DD290839-A022-4ADA-9E0E-4E18D7BC8568}" destId="{8E464150-142E-4CD1-B09B-9F8B4A942C5D}" srcOrd="0" destOrd="0" presId="urn:microsoft.com/office/officeart/2008/layout/AlternatingHexagons"/>
    <dgm:cxn modelId="{F7FF8C2B-7BEC-458C-A456-ED3A81FA907A}" type="presOf" srcId="{23112ED6-D38E-4290-9FF4-E77ED2298AB3}" destId="{B97BA2A7-AF95-4001-AB17-AA57672F9786}" srcOrd="0" destOrd="0" presId="urn:microsoft.com/office/officeart/2008/layout/AlternatingHexagons"/>
    <dgm:cxn modelId="{37ECF017-2F0A-413A-9B5F-D0DB2DC78BE8}" srcId="{E9A70BD4-9EA7-4D19-955B-B11BBE2BE08A}" destId="{737191E9-5FFB-4617-9194-017EAD4424B6}" srcOrd="0" destOrd="0" parTransId="{9B0492F5-80DE-45A9-B16B-B5E463ACC655}" sibTransId="{17DF17F3-1546-4809-B927-170925BB76B7}"/>
    <dgm:cxn modelId="{18B596DE-878B-4588-8E28-6768DD4BB1B4}" type="presOf" srcId="{44806FE2-7675-47C4-B096-BD7C2EC9275B}" destId="{2CAF7217-13E5-4CC3-B0B6-4FFCA7ADB28E}" srcOrd="0" destOrd="0" presId="urn:microsoft.com/office/officeart/2008/layout/AlternatingHexagons"/>
    <dgm:cxn modelId="{BDAA5901-7EBB-4D02-BE78-C9C0F85139C8}" type="presOf" srcId="{E8E336BA-52BB-4D1A-B334-E1917C5AF7B1}" destId="{E38766EB-C465-4893-BBEC-DDE44B661F20}" srcOrd="0" destOrd="0" presId="urn:microsoft.com/office/officeart/2008/layout/AlternatingHexagons"/>
    <dgm:cxn modelId="{D2FF3B2F-7095-40FC-A994-6CCDC30375D9}" type="presOf" srcId="{9B57E119-5657-4DA0-A041-587875DA6150}" destId="{E69703B2-57EA-4E08-B665-9C928210D56F}" srcOrd="0" destOrd="0" presId="urn:microsoft.com/office/officeart/2008/layout/AlternatingHexagons"/>
    <dgm:cxn modelId="{CC384A1A-D536-42D9-B22A-34FE3AA553F2}" srcId="{737191E9-5FFB-4617-9194-017EAD4424B6}" destId="{44806FE2-7675-47C4-B096-BD7C2EC9275B}" srcOrd="0" destOrd="0" parTransId="{A0880616-C153-4971-8B33-D87E030C08D7}" sibTransId="{AD8B8D55-A7EA-4775-B220-502B194669B3}"/>
    <dgm:cxn modelId="{0F3B0E7C-DC6F-4E72-90CC-D6D27642CB93}" type="presOf" srcId="{C92611A3-305C-441A-8278-B5CC77191016}" destId="{1B45B7E6-A077-4655-B989-54399018821A}" srcOrd="0" destOrd="0" presId="urn:microsoft.com/office/officeart/2008/layout/AlternatingHexagons"/>
    <dgm:cxn modelId="{45E2029D-6BED-49B7-A3FE-08DDD9E78F1E}" type="presParOf" srcId="{6F4D1328-6751-4193-9EA3-9A4BD9A3DDAE}" destId="{5E4C97D1-B104-420A-BA57-FB34AA52BB49}" srcOrd="0" destOrd="0" presId="urn:microsoft.com/office/officeart/2008/layout/AlternatingHexagons"/>
    <dgm:cxn modelId="{23ED4C0D-D893-4777-BDB4-F57100C386DE}" type="presParOf" srcId="{5E4C97D1-B104-420A-BA57-FB34AA52BB49}" destId="{144BDCAE-C9D7-42E7-B94B-F0CC138D5AE1}" srcOrd="0" destOrd="0" presId="urn:microsoft.com/office/officeart/2008/layout/AlternatingHexagons"/>
    <dgm:cxn modelId="{FD4C64F8-9B04-4421-AD9E-72E6AB8B9CA2}" type="presParOf" srcId="{5E4C97D1-B104-420A-BA57-FB34AA52BB49}" destId="{2CAF7217-13E5-4CC3-B0B6-4FFCA7ADB28E}" srcOrd="1" destOrd="0" presId="urn:microsoft.com/office/officeart/2008/layout/AlternatingHexagons"/>
    <dgm:cxn modelId="{DE7258C5-CFFD-49FE-9E20-7A5A5478CC3F}" type="presParOf" srcId="{5E4C97D1-B104-420A-BA57-FB34AA52BB49}" destId="{02C06F5D-7C41-4545-AF76-5177C3EEDFDF}" srcOrd="2" destOrd="0" presId="urn:microsoft.com/office/officeart/2008/layout/AlternatingHexagons"/>
    <dgm:cxn modelId="{C2892CF0-68CF-4FD6-B112-33D89D896F20}" type="presParOf" srcId="{5E4C97D1-B104-420A-BA57-FB34AA52BB49}" destId="{7FFE86CA-B091-4942-9271-AC8817A08126}" srcOrd="3" destOrd="0" presId="urn:microsoft.com/office/officeart/2008/layout/AlternatingHexagons"/>
    <dgm:cxn modelId="{1F575F22-A69E-4F9B-AB11-DA3F19C5DD37}" type="presParOf" srcId="{5E4C97D1-B104-420A-BA57-FB34AA52BB49}" destId="{97098015-F64A-4912-86F3-19E2B3FCA903}" srcOrd="4" destOrd="0" presId="urn:microsoft.com/office/officeart/2008/layout/AlternatingHexagons"/>
    <dgm:cxn modelId="{90577178-4F6A-48DD-B93F-85C32419B4EF}" type="presParOf" srcId="{6F4D1328-6751-4193-9EA3-9A4BD9A3DDAE}" destId="{00C8A246-4BFB-40F4-B541-9497E506E3FF}" srcOrd="1" destOrd="0" presId="urn:microsoft.com/office/officeart/2008/layout/AlternatingHexagons"/>
    <dgm:cxn modelId="{AC508A42-9219-4D4A-9C2E-836E3BFFC0BD}" type="presParOf" srcId="{6F4D1328-6751-4193-9EA3-9A4BD9A3DDAE}" destId="{EDFD971C-0639-4C2C-AFA6-9DDEAD431063}" srcOrd="2" destOrd="0" presId="urn:microsoft.com/office/officeart/2008/layout/AlternatingHexagons"/>
    <dgm:cxn modelId="{CED99F91-A836-44EF-B5FB-CF97FAB088CC}" type="presParOf" srcId="{EDFD971C-0639-4C2C-AFA6-9DDEAD431063}" destId="{E38766EB-C465-4893-BBEC-DDE44B661F20}" srcOrd="0" destOrd="0" presId="urn:microsoft.com/office/officeart/2008/layout/AlternatingHexagons"/>
    <dgm:cxn modelId="{7AEDDC28-6A09-4005-96B3-87662953C55D}" type="presParOf" srcId="{EDFD971C-0639-4C2C-AFA6-9DDEAD431063}" destId="{B97BA2A7-AF95-4001-AB17-AA57672F9786}" srcOrd="1" destOrd="0" presId="urn:microsoft.com/office/officeart/2008/layout/AlternatingHexagons"/>
    <dgm:cxn modelId="{16B653BF-6A52-46F5-AC50-0B6F2B4CFA6B}" type="presParOf" srcId="{EDFD971C-0639-4C2C-AFA6-9DDEAD431063}" destId="{F8F73D51-3802-4199-870C-D6EF46865EAE}" srcOrd="2" destOrd="0" presId="urn:microsoft.com/office/officeart/2008/layout/AlternatingHexagons"/>
    <dgm:cxn modelId="{B53FE16D-B14F-40A5-8410-269B564F1CD2}" type="presParOf" srcId="{EDFD971C-0639-4C2C-AFA6-9DDEAD431063}" destId="{221499A9-0ECD-44B5-914A-E9F04C3FFF75}" srcOrd="3" destOrd="0" presId="urn:microsoft.com/office/officeart/2008/layout/AlternatingHexagons"/>
    <dgm:cxn modelId="{62F6E885-6B7B-4758-823B-878CB222485F}" type="presParOf" srcId="{EDFD971C-0639-4C2C-AFA6-9DDEAD431063}" destId="{1B45B7E6-A077-4655-B989-54399018821A}" srcOrd="4" destOrd="0" presId="urn:microsoft.com/office/officeart/2008/layout/AlternatingHexagons"/>
    <dgm:cxn modelId="{FD99D26F-0AFA-46EA-A7EC-0430049B502C}" type="presParOf" srcId="{6F4D1328-6751-4193-9EA3-9A4BD9A3DDAE}" destId="{5D03DDA5-A527-4C5D-A3D3-B6F5AF893FA1}" srcOrd="3" destOrd="0" presId="urn:microsoft.com/office/officeart/2008/layout/AlternatingHexagons"/>
    <dgm:cxn modelId="{D7A0B2AB-5620-4C13-8105-939A6530F290}" type="presParOf" srcId="{6F4D1328-6751-4193-9EA3-9A4BD9A3DDAE}" destId="{B3BD609E-79C3-42C2-9D33-D5A295250E37}" srcOrd="4" destOrd="0" presId="urn:microsoft.com/office/officeart/2008/layout/AlternatingHexagons"/>
    <dgm:cxn modelId="{06883C47-FAEB-4F43-9C8A-3845C1BA18C9}" type="presParOf" srcId="{B3BD609E-79C3-42C2-9D33-D5A295250E37}" destId="{8E464150-142E-4CD1-B09B-9F8B4A942C5D}" srcOrd="0" destOrd="0" presId="urn:microsoft.com/office/officeart/2008/layout/AlternatingHexagons"/>
    <dgm:cxn modelId="{8E36CAE1-12A5-4C66-A4C1-0074DCCF5A8E}" type="presParOf" srcId="{B3BD609E-79C3-42C2-9D33-D5A295250E37}" destId="{667C2B3B-8FC4-486E-9CBA-E1546240DCC2}" srcOrd="1" destOrd="0" presId="urn:microsoft.com/office/officeart/2008/layout/AlternatingHexagons"/>
    <dgm:cxn modelId="{7E2F94E5-36B8-442F-AF3E-62457A981E82}" type="presParOf" srcId="{B3BD609E-79C3-42C2-9D33-D5A295250E37}" destId="{9FE926FC-015E-470E-A806-718A64170C9D}" srcOrd="2" destOrd="0" presId="urn:microsoft.com/office/officeart/2008/layout/AlternatingHexagons"/>
    <dgm:cxn modelId="{EE6CBA0E-6DE3-43D3-9365-541377668A5A}" type="presParOf" srcId="{B3BD609E-79C3-42C2-9D33-D5A295250E37}" destId="{9B519B66-BB0E-48EA-A42F-2E8CBBD424E4}" srcOrd="3" destOrd="0" presId="urn:microsoft.com/office/officeart/2008/layout/AlternatingHexagons"/>
    <dgm:cxn modelId="{0B8CEEA0-B71F-4D86-A021-6F58D93FDA8F}" type="presParOf" srcId="{B3BD609E-79C3-42C2-9D33-D5A295250E37}" destId="{E69703B2-57EA-4E08-B665-9C928210D56F}" srcOrd="4" destOrd="0" presId="urn:microsoft.com/office/officeart/2008/layout/AlternatingHexagon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44BDCAE-C9D7-42E7-B94B-F0CC138D5AE1}">
      <dsp:nvSpPr>
        <dsp:cNvPr id="0" name=""/>
        <dsp:cNvSpPr/>
      </dsp:nvSpPr>
      <dsp:spPr>
        <a:xfrm rot="5400000">
          <a:off x="2942024" y="117566"/>
          <a:ext cx="1799807" cy="1565832"/>
        </a:xfrm>
        <a:prstGeom prst="hexagon">
          <a:avLst>
            <a:gd name="adj" fmla="val 25000"/>
            <a:gd name="vf" fmla="val 11547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1"/>
              </a:solidFill>
            </a:rPr>
            <a:t>Central &amp; Research Accs.</a:t>
          </a:r>
          <a:endParaRPr lang="en-US" sz="1600" b="1" kern="1200" dirty="0">
            <a:solidFill>
              <a:schemeClr val="tx1"/>
            </a:solidFill>
          </a:endParaRPr>
        </a:p>
      </dsp:txBody>
      <dsp:txXfrm rot="-5400000">
        <a:off x="3303020" y="281049"/>
        <a:ext cx="1077814" cy="1238867"/>
      </dsp:txXfrm>
    </dsp:sp>
    <dsp:sp modelId="{2CAF7217-13E5-4CC3-B0B6-4FFCA7ADB28E}">
      <dsp:nvSpPr>
        <dsp:cNvPr id="0" name=""/>
        <dsp:cNvSpPr/>
      </dsp:nvSpPr>
      <dsp:spPr>
        <a:xfrm>
          <a:off x="4672359" y="360540"/>
          <a:ext cx="2008584" cy="10798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endParaRPr lang="en-US" sz="3600" b="1" kern="1200" dirty="0"/>
        </a:p>
      </dsp:txBody>
      <dsp:txXfrm>
        <a:off x="4672359" y="360540"/>
        <a:ext cx="2008584" cy="1079884"/>
      </dsp:txXfrm>
    </dsp:sp>
    <dsp:sp modelId="{97098015-F64A-4912-86F3-19E2B3FCA903}">
      <dsp:nvSpPr>
        <dsp:cNvPr id="0" name=""/>
        <dsp:cNvSpPr/>
      </dsp:nvSpPr>
      <dsp:spPr>
        <a:xfrm rot="5400000">
          <a:off x="1162440" y="116987"/>
          <a:ext cx="1799807" cy="1565832"/>
        </a:xfrm>
        <a:prstGeom prst="hexagon">
          <a:avLst>
            <a:gd name="adj" fmla="val 25000"/>
            <a:gd name="vf" fmla="val 115470"/>
          </a:avLst>
        </a:prstGeom>
        <a:solidFill>
          <a:schemeClr val="accent5">
            <a:hueOff val="-2357907"/>
            <a:satOff val="4559"/>
            <a:lumOff val="-6353"/>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AP &amp; Cashier</a:t>
          </a:r>
          <a:endParaRPr lang="en-US" sz="1800" b="1" kern="1200" dirty="0">
            <a:solidFill>
              <a:schemeClr val="tx1"/>
            </a:solidFill>
          </a:endParaRPr>
        </a:p>
      </dsp:txBody>
      <dsp:txXfrm rot="-5400000">
        <a:off x="1523436" y="280470"/>
        <a:ext cx="1077814" cy="1238867"/>
      </dsp:txXfrm>
    </dsp:sp>
    <dsp:sp modelId="{E38766EB-C465-4893-BBEC-DDE44B661F20}">
      <dsp:nvSpPr>
        <dsp:cNvPr id="0" name=""/>
        <dsp:cNvSpPr/>
      </dsp:nvSpPr>
      <dsp:spPr>
        <a:xfrm rot="5400000">
          <a:off x="2093235" y="1645242"/>
          <a:ext cx="1799807" cy="1565832"/>
        </a:xfrm>
        <a:prstGeom prst="hexagon">
          <a:avLst>
            <a:gd name="adj" fmla="val 25000"/>
            <a:gd name="vf" fmla="val 115470"/>
          </a:avLst>
        </a:prstGeom>
        <a:solidFill>
          <a:schemeClr val="accent5">
            <a:hueOff val="-4715813"/>
            <a:satOff val="9118"/>
            <a:lumOff val="-12706"/>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solidFill>
                <a:schemeClr val="tx1"/>
              </a:solidFill>
            </a:rPr>
            <a:t>Helpdesk &amp; Cash Mang.</a:t>
          </a:r>
          <a:endParaRPr lang="en-US" sz="1600" b="1" kern="1200" dirty="0">
            <a:solidFill>
              <a:schemeClr val="tx1"/>
            </a:solidFill>
          </a:endParaRPr>
        </a:p>
      </dsp:txBody>
      <dsp:txXfrm rot="-5400000">
        <a:off x="2454231" y="1808725"/>
        <a:ext cx="1077814" cy="1238867"/>
      </dsp:txXfrm>
    </dsp:sp>
    <dsp:sp modelId="{B97BA2A7-AF95-4001-AB17-AA57672F9786}">
      <dsp:nvSpPr>
        <dsp:cNvPr id="0" name=""/>
        <dsp:cNvSpPr/>
      </dsp:nvSpPr>
      <dsp:spPr>
        <a:xfrm>
          <a:off x="201638" y="1888216"/>
          <a:ext cx="1943791" cy="10798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ctr" anchorCtr="0">
          <a:noAutofit/>
        </a:bodyPr>
        <a:lstStyle/>
        <a:p>
          <a:pPr lvl="0" algn="r" defTabSz="1600200">
            <a:lnSpc>
              <a:spcPct val="90000"/>
            </a:lnSpc>
            <a:spcBef>
              <a:spcPct val="0"/>
            </a:spcBef>
            <a:spcAft>
              <a:spcPct val="35000"/>
            </a:spcAft>
          </a:pPr>
          <a:endParaRPr lang="en-US" sz="3600" b="1" kern="1200" dirty="0"/>
        </a:p>
      </dsp:txBody>
      <dsp:txXfrm>
        <a:off x="201638" y="1888216"/>
        <a:ext cx="1943791" cy="1079884"/>
      </dsp:txXfrm>
    </dsp:sp>
    <dsp:sp modelId="{1B45B7E6-A077-4655-B989-54399018821A}">
      <dsp:nvSpPr>
        <dsp:cNvPr id="0" name=""/>
        <dsp:cNvSpPr/>
      </dsp:nvSpPr>
      <dsp:spPr>
        <a:xfrm rot="5400000">
          <a:off x="3784334" y="1645242"/>
          <a:ext cx="1799807" cy="1565832"/>
        </a:xfrm>
        <a:prstGeom prst="hexagon">
          <a:avLst>
            <a:gd name="adj" fmla="val 25000"/>
            <a:gd name="vf" fmla="val 115470"/>
          </a:avLst>
        </a:prstGeom>
        <a:solidFill>
          <a:schemeClr val="accent5">
            <a:hueOff val="-7073719"/>
            <a:satOff val="13676"/>
            <a:lumOff val="-19059"/>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Finance Systems Group</a:t>
          </a:r>
          <a:endParaRPr lang="en-US" sz="1800" b="1" kern="1200" dirty="0">
            <a:solidFill>
              <a:schemeClr val="tx1"/>
            </a:solidFill>
          </a:endParaRPr>
        </a:p>
      </dsp:txBody>
      <dsp:txXfrm rot="-5400000">
        <a:off x="4145330" y="1808725"/>
        <a:ext cx="1077814" cy="1238867"/>
      </dsp:txXfrm>
    </dsp:sp>
    <dsp:sp modelId="{8E464150-142E-4CD1-B09B-9F8B4A942C5D}">
      <dsp:nvSpPr>
        <dsp:cNvPr id="0" name=""/>
        <dsp:cNvSpPr/>
      </dsp:nvSpPr>
      <dsp:spPr>
        <a:xfrm rot="5400000">
          <a:off x="2942024" y="3172918"/>
          <a:ext cx="1799807" cy="1565832"/>
        </a:xfrm>
        <a:prstGeom prst="hexagon">
          <a:avLst>
            <a:gd name="adj" fmla="val 25000"/>
            <a:gd name="vf" fmla="val 115470"/>
          </a:avLst>
        </a:prstGeom>
        <a:solidFill>
          <a:schemeClr val="accent5">
            <a:hueOff val="-9431626"/>
            <a:satOff val="18235"/>
            <a:lumOff val="-2541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solidFill>
                <a:schemeClr val="tx1"/>
              </a:solidFill>
            </a:rPr>
            <a:t>Credit Control</a:t>
          </a:r>
          <a:endParaRPr lang="en-US" sz="1800" b="1" kern="1200" dirty="0">
            <a:solidFill>
              <a:schemeClr val="tx1"/>
            </a:solidFill>
          </a:endParaRPr>
        </a:p>
      </dsp:txBody>
      <dsp:txXfrm rot="-5400000">
        <a:off x="3303020" y="3336401"/>
        <a:ext cx="1077814" cy="1238867"/>
      </dsp:txXfrm>
    </dsp:sp>
    <dsp:sp modelId="{667C2B3B-8FC4-486E-9CBA-E1546240DCC2}">
      <dsp:nvSpPr>
        <dsp:cNvPr id="0" name=""/>
        <dsp:cNvSpPr/>
      </dsp:nvSpPr>
      <dsp:spPr>
        <a:xfrm>
          <a:off x="4672359" y="3415892"/>
          <a:ext cx="2008584" cy="107988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37160" tIns="137160" rIns="137160" bIns="137160" numCol="1" spcCol="1270" anchor="ctr" anchorCtr="0">
          <a:noAutofit/>
        </a:bodyPr>
        <a:lstStyle/>
        <a:p>
          <a:pPr lvl="0" algn="l" defTabSz="1600200">
            <a:lnSpc>
              <a:spcPct val="90000"/>
            </a:lnSpc>
            <a:spcBef>
              <a:spcPct val="0"/>
            </a:spcBef>
            <a:spcAft>
              <a:spcPct val="35000"/>
            </a:spcAft>
          </a:pPr>
          <a:endParaRPr lang="en-US" sz="3600" kern="1200" dirty="0"/>
        </a:p>
      </dsp:txBody>
      <dsp:txXfrm>
        <a:off x="4672359" y="3415892"/>
        <a:ext cx="2008584" cy="1079884"/>
      </dsp:txXfrm>
    </dsp:sp>
    <dsp:sp modelId="{E69703B2-57EA-4E08-B665-9C928210D56F}">
      <dsp:nvSpPr>
        <dsp:cNvPr id="0" name=""/>
        <dsp:cNvSpPr/>
      </dsp:nvSpPr>
      <dsp:spPr>
        <a:xfrm rot="5400000">
          <a:off x="1250925" y="3172918"/>
          <a:ext cx="1799807" cy="1565832"/>
        </a:xfrm>
        <a:prstGeom prst="hexagon">
          <a:avLst>
            <a:gd name="adj" fmla="val 25000"/>
            <a:gd name="vf" fmla="val 115470"/>
          </a:avLst>
        </a:prstGeom>
        <a:solidFill>
          <a:schemeClr val="accent5">
            <a:hueOff val="-11789532"/>
            <a:satOff val="22794"/>
            <a:lumOff val="-3176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1022350">
            <a:lnSpc>
              <a:spcPct val="90000"/>
            </a:lnSpc>
            <a:spcBef>
              <a:spcPct val="0"/>
            </a:spcBef>
            <a:spcAft>
              <a:spcPct val="35000"/>
            </a:spcAft>
          </a:pPr>
          <a:r>
            <a:rPr lang="en-US" sz="2300" kern="1200" dirty="0" smtClean="0"/>
            <a:t>GHOST</a:t>
          </a:r>
          <a:endParaRPr lang="en-US" sz="2300" kern="1200" dirty="0"/>
        </a:p>
      </dsp:txBody>
      <dsp:txXfrm rot="-5400000">
        <a:off x="1611921" y="3336401"/>
        <a:ext cx="1077814" cy="1238867"/>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2"/>
          <p:cNvSpPr>
            <a:spLocks noGrp="1" noChangeArrowheads="1"/>
          </p:cNvSpPr>
          <p:nvPr>
            <p:ph type="hdr" sz="quarter"/>
          </p:nvPr>
        </p:nvSpPr>
        <p:spPr bwMode="auto">
          <a:xfrm>
            <a:off x="0" y="0"/>
            <a:ext cx="2946400" cy="496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pPr>
              <a:defRPr/>
            </a:pPr>
            <a:endParaRPr lang="en-GB"/>
          </a:p>
        </p:txBody>
      </p:sp>
      <p:sp>
        <p:nvSpPr>
          <p:cNvPr id="9219" name="Rectangle 3"/>
          <p:cNvSpPr>
            <a:spLocks noGrp="1" noChangeArrowheads="1"/>
          </p:cNvSpPr>
          <p:nvPr>
            <p:ph type="dt" sz="quarter" idx="1"/>
          </p:nvPr>
        </p:nvSpPr>
        <p:spPr bwMode="auto">
          <a:xfrm>
            <a:off x="3849688" y="0"/>
            <a:ext cx="2946400" cy="496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GB"/>
          </a:p>
        </p:txBody>
      </p:sp>
      <p:sp>
        <p:nvSpPr>
          <p:cNvPr id="9220" name="Rectangle 4"/>
          <p:cNvSpPr>
            <a:spLocks noGrp="1" noChangeArrowheads="1"/>
          </p:cNvSpPr>
          <p:nvPr>
            <p:ph type="ftr" sz="quarter" idx="2"/>
          </p:nvPr>
        </p:nvSpPr>
        <p:spPr bwMode="auto">
          <a:xfrm>
            <a:off x="0" y="9428242"/>
            <a:ext cx="2946400" cy="496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pPr>
              <a:defRPr/>
            </a:pPr>
            <a:endParaRPr lang="en-GB"/>
          </a:p>
        </p:txBody>
      </p:sp>
      <p:sp>
        <p:nvSpPr>
          <p:cNvPr id="9221" name="Rectangle 5"/>
          <p:cNvSpPr>
            <a:spLocks noGrp="1" noChangeArrowheads="1"/>
          </p:cNvSpPr>
          <p:nvPr>
            <p:ph type="sldNum" sz="quarter" idx="3"/>
          </p:nvPr>
        </p:nvSpPr>
        <p:spPr bwMode="auto">
          <a:xfrm>
            <a:off x="3849688" y="9428242"/>
            <a:ext cx="2946400" cy="496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pPr>
              <a:defRPr/>
            </a:pPr>
            <a:fld id="{DA9E151D-6238-42C4-A2AC-804940F2AFFA}" type="slidenum">
              <a:rPr lang="en-GB"/>
              <a:pPr>
                <a:defRPr/>
              </a:pPr>
              <a:t>‹#›</a:t>
            </a:fld>
            <a:endParaRPr lang="en-GB" dirty="0"/>
          </a:p>
        </p:txBody>
      </p:sp>
    </p:spTree>
    <p:extLst>
      <p:ext uri="{BB962C8B-B14F-4D97-AF65-F5344CB8AC3E}">
        <p14:creationId xmlns:p14="http://schemas.microsoft.com/office/powerpoint/2010/main" val="86989105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ChangeArrowheads="1"/>
          </p:cNvSpPr>
          <p:nvPr>
            <p:ph type="hdr" sz="quarter"/>
          </p:nvPr>
        </p:nvSpPr>
        <p:spPr bwMode="auto">
          <a:xfrm>
            <a:off x="0" y="0"/>
            <a:ext cx="2946400" cy="496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pPr>
              <a:defRPr/>
            </a:pPr>
            <a:endParaRPr lang="en-GB"/>
          </a:p>
        </p:txBody>
      </p:sp>
      <p:sp>
        <p:nvSpPr>
          <p:cNvPr id="8195" name="Rectangle 3"/>
          <p:cNvSpPr>
            <a:spLocks noGrp="1" noChangeArrowheads="1"/>
          </p:cNvSpPr>
          <p:nvPr>
            <p:ph type="dt" idx="1"/>
          </p:nvPr>
        </p:nvSpPr>
        <p:spPr bwMode="auto">
          <a:xfrm>
            <a:off x="3849688" y="0"/>
            <a:ext cx="2946400" cy="496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pPr>
              <a:defRPr/>
            </a:pPr>
            <a:endParaRPr lang="en-GB"/>
          </a:p>
        </p:txBody>
      </p:sp>
      <p:sp>
        <p:nvSpPr>
          <p:cNvPr id="19460"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8197" name="Rectangle 5"/>
          <p:cNvSpPr>
            <a:spLocks noGrp="1" noChangeArrowheads="1"/>
          </p:cNvSpPr>
          <p:nvPr>
            <p:ph type="body" sz="quarter" idx="3"/>
          </p:nvPr>
        </p:nvSpPr>
        <p:spPr bwMode="auto">
          <a:xfrm>
            <a:off x="1133475" y="4715709"/>
            <a:ext cx="4514850" cy="44680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8198" name="Rectangle 6"/>
          <p:cNvSpPr>
            <a:spLocks noGrp="1" noChangeArrowheads="1"/>
          </p:cNvSpPr>
          <p:nvPr>
            <p:ph type="ftr" sz="quarter" idx="4"/>
          </p:nvPr>
        </p:nvSpPr>
        <p:spPr bwMode="auto">
          <a:xfrm>
            <a:off x="0" y="9428242"/>
            <a:ext cx="2946400" cy="496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pPr>
              <a:defRPr/>
            </a:pPr>
            <a:endParaRPr lang="en-GB"/>
          </a:p>
        </p:txBody>
      </p:sp>
      <p:sp>
        <p:nvSpPr>
          <p:cNvPr id="8199" name="Rectangle 7"/>
          <p:cNvSpPr>
            <a:spLocks noGrp="1" noChangeArrowheads="1"/>
          </p:cNvSpPr>
          <p:nvPr>
            <p:ph type="sldNum" sz="quarter" idx="5"/>
          </p:nvPr>
        </p:nvSpPr>
        <p:spPr bwMode="auto">
          <a:xfrm>
            <a:off x="3849688" y="9428242"/>
            <a:ext cx="2946400" cy="4968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pPr>
              <a:defRPr/>
            </a:pPr>
            <a:fld id="{910B1A4F-C648-48E1-A1C9-732379BC87E2}" type="slidenum">
              <a:rPr lang="en-GB"/>
              <a:pPr>
                <a:defRPr/>
              </a:pPr>
              <a:t>‹#›</a:t>
            </a:fld>
            <a:endParaRPr lang="en-GB" dirty="0"/>
          </a:p>
        </p:txBody>
      </p:sp>
    </p:spTree>
    <p:extLst>
      <p:ext uri="{BB962C8B-B14F-4D97-AF65-F5344CB8AC3E}">
        <p14:creationId xmlns:p14="http://schemas.microsoft.com/office/powerpoint/2010/main" val="151866616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7"/>
          <p:cNvSpPr>
            <a:spLocks noGrp="1" noChangeArrowheads="1"/>
          </p:cNvSpPr>
          <p:nvPr>
            <p:ph type="sldNum" sz="quarter" idx="5"/>
          </p:nvPr>
        </p:nvSpPr>
        <p:spPr>
          <a:noFill/>
        </p:spPr>
        <p:txBody>
          <a:bodyPr/>
          <a:lstStyle>
            <a:lvl1pPr eaLnBrk="0" hangingPunct="0">
              <a:spcBef>
                <a:spcPct val="30000"/>
              </a:spcBef>
              <a:defRPr sz="1200">
                <a:solidFill>
                  <a:schemeClr val="tx1"/>
                </a:solidFill>
                <a:latin typeface="Arial" charset="0"/>
              </a:defRPr>
            </a:lvl1pPr>
            <a:lvl2pPr marL="742950" indent="-285750" eaLnBrk="0" hangingPunct="0">
              <a:spcBef>
                <a:spcPct val="30000"/>
              </a:spcBef>
              <a:defRPr sz="1200">
                <a:solidFill>
                  <a:schemeClr val="tx1"/>
                </a:solidFill>
                <a:latin typeface="Arial" charset="0"/>
              </a:defRPr>
            </a:lvl2pPr>
            <a:lvl3pPr marL="1143000" indent="-228600" eaLnBrk="0" hangingPunct="0">
              <a:spcBef>
                <a:spcPct val="30000"/>
              </a:spcBef>
              <a:defRPr sz="1200">
                <a:solidFill>
                  <a:schemeClr val="tx1"/>
                </a:solidFill>
                <a:latin typeface="Arial" charset="0"/>
              </a:defRPr>
            </a:lvl3pPr>
            <a:lvl4pPr marL="1600200" indent="-228600" eaLnBrk="0" hangingPunct="0">
              <a:spcBef>
                <a:spcPct val="30000"/>
              </a:spcBef>
              <a:defRPr sz="1200">
                <a:solidFill>
                  <a:schemeClr val="tx1"/>
                </a:solidFill>
                <a:latin typeface="Arial" charset="0"/>
              </a:defRPr>
            </a:lvl4pPr>
            <a:lvl5pPr marL="2057400" indent="-228600" eaLnBrk="0" hangingPunct="0">
              <a:spcBef>
                <a:spcPct val="30000"/>
              </a:spcBef>
              <a:defRPr sz="1200">
                <a:solidFill>
                  <a:schemeClr val="tx1"/>
                </a:solidFill>
                <a:latin typeface="Arial" charset="0"/>
              </a:defRPr>
            </a:lvl5pPr>
            <a:lvl6pPr marL="2514600" indent="-228600" eaLnBrk="0" fontAlgn="base" hangingPunct="0">
              <a:spcBef>
                <a:spcPct val="30000"/>
              </a:spcBef>
              <a:spcAft>
                <a:spcPct val="0"/>
              </a:spcAft>
              <a:defRPr sz="1200">
                <a:solidFill>
                  <a:schemeClr val="tx1"/>
                </a:solidFill>
                <a:latin typeface="Arial" charset="0"/>
              </a:defRPr>
            </a:lvl6pPr>
            <a:lvl7pPr marL="2971800" indent="-228600" eaLnBrk="0" fontAlgn="base" hangingPunct="0">
              <a:spcBef>
                <a:spcPct val="30000"/>
              </a:spcBef>
              <a:spcAft>
                <a:spcPct val="0"/>
              </a:spcAft>
              <a:defRPr sz="1200">
                <a:solidFill>
                  <a:schemeClr val="tx1"/>
                </a:solidFill>
                <a:latin typeface="Arial" charset="0"/>
              </a:defRPr>
            </a:lvl7pPr>
            <a:lvl8pPr marL="3429000" indent="-228600" eaLnBrk="0" fontAlgn="base" hangingPunct="0">
              <a:spcBef>
                <a:spcPct val="30000"/>
              </a:spcBef>
              <a:spcAft>
                <a:spcPct val="0"/>
              </a:spcAft>
              <a:defRPr sz="1200">
                <a:solidFill>
                  <a:schemeClr val="tx1"/>
                </a:solidFill>
                <a:latin typeface="Arial" charset="0"/>
              </a:defRPr>
            </a:lvl8pPr>
            <a:lvl9pPr marL="3886200" indent="-228600" eaLnBrk="0" fontAlgn="base" hangingPunct="0">
              <a:spcBef>
                <a:spcPct val="30000"/>
              </a:spcBef>
              <a:spcAft>
                <a:spcPct val="0"/>
              </a:spcAft>
              <a:defRPr sz="1200">
                <a:solidFill>
                  <a:schemeClr val="tx1"/>
                </a:solidFill>
                <a:latin typeface="Arial" charset="0"/>
              </a:defRPr>
            </a:lvl9pPr>
          </a:lstStyle>
          <a:p>
            <a:pPr eaLnBrk="1" hangingPunct="1">
              <a:spcBef>
                <a:spcPct val="0"/>
              </a:spcBef>
            </a:pPr>
            <a:fld id="{6AC50B64-ABCB-46B1-AFB0-56CBF1B22ED0}" type="slidenum">
              <a:rPr lang="en-GB" altLang="en-US" smtClean="0"/>
              <a:pPr eaLnBrk="1" hangingPunct="1">
                <a:spcBef>
                  <a:spcPct val="0"/>
                </a:spcBef>
              </a:pPr>
              <a:t>1</a:t>
            </a:fld>
            <a:endParaRPr lang="en-GB" altLang="en-US" smtClean="0"/>
          </a:p>
        </p:txBody>
      </p:sp>
      <p:sp>
        <p:nvSpPr>
          <p:cNvPr id="11267" name="Rectangle 2"/>
          <p:cNvSpPr>
            <a:spLocks noGrp="1" noRot="1" noChangeAspect="1" noChangeArrowheads="1" noTextEdit="1"/>
          </p:cNvSpPr>
          <p:nvPr>
            <p:ph type="sldImg"/>
          </p:nvPr>
        </p:nvSpPr>
        <p:spPr>
          <a:ln/>
        </p:spPr>
      </p:sp>
      <p:sp>
        <p:nvSpPr>
          <p:cNvPr id="11268" name="Rectangle 3"/>
          <p:cNvSpPr>
            <a:spLocks noGrp="1" noChangeArrowheads="1"/>
          </p:cNvSpPr>
          <p:nvPr>
            <p:ph type="body" idx="1"/>
          </p:nvPr>
        </p:nvSpPr>
        <p:spPr>
          <a:noFill/>
        </p:spPr>
        <p:txBody>
          <a:bodyPr/>
          <a:lstStyle/>
          <a:p>
            <a:pPr eaLnBrk="1" hangingPunct="1"/>
            <a:endParaRPr lang="en-US" altLang="en-US" smtClean="0"/>
          </a:p>
        </p:txBody>
      </p:sp>
    </p:spTree>
    <p:extLst>
      <p:ext uri="{BB962C8B-B14F-4D97-AF65-F5344CB8AC3E}">
        <p14:creationId xmlns:p14="http://schemas.microsoft.com/office/powerpoint/2010/main" val="117356565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0600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urvey – a lot of people</a:t>
            </a:r>
            <a:r>
              <a:rPr lang="en-GB" baseline="0" dirty="0"/>
              <a:t> engaged</a:t>
            </a:r>
            <a:endParaRPr lang="en-GB" dirty="0"/>
          </a:p>
        </p:txBody>
      </p:sp>
      <p:sp>
        <p:nvSpPr>
          <p:cNvPr id="4" name="Slide Number Placeholder 3"/>
          <p:cNvSpPr>
            <a:spLocks noGrp="1"/>
          </p:cNvSpPr>
          <p:nvPr>
            <p:ph type="sldNum" sz="quarter" idx="10"/>
          </p:nvPr>
        </p:nvSpPr>
        <p:spPr/>
        <p:txBody>
          <a:bodyPr/>
          <a:lstStyle/>
          <a:p>
            <a:fld id="{A30168D0-694B-4854-BC07-6D9DFC78C5AC}" type="slidenum">
              <a:rPr lang="en-GB" smtClean="0"/>
              <a:t>17</a:t>
            </a:fld>
            <a:endParaRPr lang="en-GB"/>
          </a:p>
        </p:txBody>
      </p:sp>
    </p:spTree>
    <p:extLst>
      <p:ext uri="{BB962C8B-B14F-4D97-AF65-F5344CB8AC3E}">
        <p14:creationId xmlns:p14="http://schemas.microsoft.com/office/powerpoint/2010/main" val="18595116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168D0-694B-4854-BC07-6D9DFC78C5AC}" type="slidenum">
              <a:rPr lang="en-GB" smtClean="0"/>
              <a:t>18</a:t>
            </a:fld>
            <a:endParaRPr lang="en-GB"/>
          </a:p>
        </p:txBody>
      </p:sp>
    </p:spTree>
    <p:extLst>
      <p:ext uri="{BB962C8B-B14F-4D97-AF65-F5344CB8AC3E}">
        <p14:creationId xmlns:p14="http://schemas.microsoft.com/office/powerpoint/2010/main" val="19340301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3850443" y="9430226"/>
            <a:ext cx="2945659" cy="494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09" tIns="45154" rIns="90309" bIns="45154" anchor="b"/>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algn="r"/>
            <a:fld id="{CB9D58D7-E520-476F-B7C4-672B162597B6}" type="slidenum">
              <a:rPr lang="en-GB" sz="1200">
                <a:solidFill>
                  <a:prstClr val="black"/>
                </a:solidFill>
              </a:rPr>
              <a:pPr algn="r"/>
              <a:t>19</a:t>
            </a:fld>
            <a:endParaRPr lang="en-GB" sz="1200">
              <a:solidFill>
                <a:prstClr val="black"/>
              </a:solidFill>
            </a:endParaRPr>
          </a:p>
        </p:txBody>
      </p:sp>
      <p:sp>
        <p:nvSpPr>
          <p:cNvPr id="29698" name="Rectangle 7"/>
          <p:cNvSpPr txBox="1">
            <a:spLocks noGrp="1" noChangeArrowheads="1"/>
          </p:cNvSpPr>
          <p:nvPr/>
        </p:nvSpPr>
        <p:spPr bwMode="auto">
          <a:xfrm>
            <a:off x="3848869" y="9430226"/>
            <a:ext cx="2947233" cy="494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52" tIns="44976" rIns="89952" bIns="44976" anchor="b"/>
          <a:lstStyle>
            <a:lvl1pPr defTabSz="900113">
              <a:defRPr>
                <a:solidFill>
                  <a:schemeClr val="tx1"/>
                </a:solidFill>
                <a:latin typeface="Arial" charset="0"/>
              </a:defRPr>
            </a:lvl1pPr>
            <a:lvl2pPr marL="742950" indent="-285750" defTabSz="900113">
              <a:defRPr>
                <a:solidFill>
                  <a:schemeClr val="tx1"/>
                </a:solidFill>
                <a:latin typeface="Arial" charset="0"/>
              </a:defRPr>
            </a:lvl2pPr>
            <a:lvl3pPr marL="1143000" indent="-228600" defTabSz="900113">
              <a:defRPr>
                <a:solidFill>
                  <a:schemeClr val="tx1"/>
                </a:solidFill>
                <a:latin typeface="Arial" charset="0"/>
              </a:defRPr>
            </a:lvl3pPr>
            <a:lvl4pPr marL="1600200" indent="-228600" defTabSz="900113">
              <a:defRPr>
                <a:solidFill>
                  <a:schemeClr val="tx1"/>
                </a:solidFill>
                <a:latin typeface="Arial" charset="0"/>
              </a:defRPr>
            </a:lvl4pPr>
            <a:lvl5pPr marL="2057400" indent="-228600" defTabSz="900113">
              <a:defRPr>
                <a:solidFill>
                  <a:schemeClr val="tx1"/>
                </a:solidFill>
                <a:latin typeface="Arial" charset="0"/>
              </a:defRPr>
            </a:lvl5pPr>
            <a:lvl6pPr marL="2514600" indent="-228600" defTabSz="900113" fontAlgn="base">
              <a:spcBef>
                <a:spcPct val="0"/>
              </a:spcBef>
              <a:spcAft>
                <a:spcPct val="0"/>
              </a:spcAft>
              <a:defRPr>
                <a:solidFill>
                  <a:schemeClr val="tx1"/>
                </a:solidFill>
                <a:latin typeface="Arial" charset="0"/>
              </a:defRPr>
            </a:lvl6pPr>
            <a:lvl7pPr marL="2971800" indent="-228600" defTabSz="900113" fontAlgn="base">
              <a:spcBef>
                <a:spcPct val="0"/>
              </a:spcBef>
              <a:spcAft>
                <a:spcPct val="0"/>
              </a:spcAft>
              <a:defRPr>
                <a:solidFill>
                  <a:schemeClr val="tx1"/>
                </a:solidFill>
                <a:latin typeface="Arial" charset="0"/>
              </a:defRPr>
            </a:lvl7pPr>
            <a:lvl8pPr marL="3429000" indent="-228600" defTabSz="900113" fontAlgn="base">
              <a:spcBef>
                <a:spcPct val="0"/>
              </a:spcBef>
              <a:spcAft>
                <a:spcPct val="0"/>
              </a:spcAft>
              <a:defRPr>
                <a:solidFill>
                  <a:schemeClr val="tx1"/>
                </a:solidFill>
                <a:latin typeface="Arial" charset="0"/>
              </a:defRPr>
            </a:lvl8pPr>
            <a:lvl9pPr marL="3886200" indent="-228600" defTabSz="900113" fontAlgn="base">
              <a:spcBef>
                <a:spcPct val="0"/>
              </a:spcBef>
              <a:spcAft>
                <a:spcPct val="0"/>
              </a:spcAft>
              <a:defRPr>
                <a:solidFill>
                  <a:schemeClr val="tx1"/>
                </a:solidFill>
                <a:latin typeface="Arial" charset="0"/>
              </a:defRPr>
            </a:lvl9pPr>
          </a:lstStyle>
          <a:p>
            <a:pPr algn="r"/>
            <a:fld id="{98463A26-FE33-4753-BCB1-F9D40DDBA16C}" type="slidenum">
              <a:rPr lang="en-GB" sz="1200">
                <a:solidFill>
                  <a:prstClr val="black"/>
                </a:solidFill>
              </a:rPr>
              <a:pPr algn="r"/>
              <a:t>19</a:t>
            </a:fld>
            <a:endParaRPr lang="en-GB" sz="1200">
              <a:solidFill>
                <a:prstClr val="black"/>
              </a:solidFill>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xfrm>
            <a:off x="1137667" y="4714302"/>
            <a:ext cx="4508180" cy="44677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52" tIns="44976" rIns="89952" bIns="44976"/>
          <a:lstStyle/>
          <a:p>
            <a:pPr eaLnBrk="1" hangingPunct="1"/>
            <a:endParaRPr lang="en-US" dirty="0" smtClean="0"/>
          </a:p>
        </p:txBody>
      </p:sp>
    </p:spTree>
    <p:extLst>
      <p:ext uri="{BB962C8B-B14F-4D97-AF65-F5344CB8AC3E}">
        <p14:creationId xmlns:p14="http://schemas.microsoft.com/office/powerpoint/2010/main" val="37098517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a:defRPr/>
            </a:pPr>
            <a:fld id="{910B1A4F-C648-48E1-A1C9-732379BC87E2}" type="slidenum">
              <a:rPr lang="en-GB" smtClean="0"/>
              <a:pPr>
                <a:defRPr/>
              </a:pPr>
              <a:t>21</a:t>
            </a:fld>
            <a:endParaRPr lang="en-GB" dirty="0"/>
          </a:p>
        </p:txBody>
      </p:sp>
    </p:spTree>
    <p:extLst>
      <p:ext uri="{BB962C8B-B14F-4D97-AF65-F5344CB8AC3E}">
        <p14:creationId xmlns:p14="http://schemas.microsoft.com/office/powerpoint/2010/main" val="332530022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3850443" y="9430226"/>
            <a:ext cx="2945659" cy="494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09" tIns="45154" rIns="90309" bIns="45154" anchor="b"/>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algn="r"/>
            <a:fld id="{CB9D58D7-E520-476F-B7C4-672B162597B6}" type="slidenum">
              <a:rPr lang="en-GB" sz="1200">
                <a:solidFill>
                  <a:prstClr val="black"/>
                </a:solidFill>
              </a:rPr>
              <a:pPr algn="r"/>
              <a:t>22</a:t>
            </a:fld>
            <a:endParaRPr lang="en-GB" sz="1200">
              <a:solidFill>
                <a:prstClr val="black"/>
              </a:solidFill>
            </a:endParaRPr>
          </a:p>
        </p:txBody>
      </p:sp>
      <p:sp>
        <p:nvSpPr>
          <p:cNvPr id="29698" name="Rectangle 7"/>
          <p:cNvSpPr txBox="1">
            <a:spLocks noGrp="1" noChangeArrowheads="1"/>
          </p:cNvSpPr>
          <p:nvPr/>
        </p:nvSpPr>
        <p:spPr bwMode="auto">
          <a:xfrm>
            <a:off x="3848869" y="9430226"/>
            <a:ext cx="2947233" cy="494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52" tIns="44976" rIns="89952" bIns="44976" anchor="b"/>
          <a:lstStyle>
            <a:lvl1pPr defTabSz="900113">
              <a:defRPr>
                <a:solidFill>
                  <a:schemeClr val="tx1"/>
                </a:solidFill>
                <a:latin typeface="Arial" charset="0"/>
              </a:defRPr>
            </a:lvl1pPr>
            <a:lvl2pPr marL="742950" indent="-285750" defTabSz="900113">
              <a:defRPr>
                <a:solidFill>
                  <a:schemeClr val="tx1"/>
                </a:solidFill>
                <a:latin typeface="Arial" charset="0"/>
              </a:defRPr>
            </a:lvl2pPr>
            <a:lvl3pPr marL="1143000" indent="-228600" defTabSz="900113">
              <a:defRPr>
                <a:solidFill>
                  <a:schemeClr val="tx1"/>
                </a:solidFill>
                <a:latin typeface="Arial" charset="0"/>
              </a:defRPr>
            </a:lvl3pPr>
            <a:lvl4pPr marL="1600200" indent="-228600" defTabSz="900113">
              <a:defRPr>
                <a:solidFill>
                  <a:schemeClr val="tx1"/>
                </a:solidFill>
                <a:latin typeface="Arial" charset="0"/>
              </a:defRPr>
            </a:lvl4pPr>
            <a:lvl5pPr marL="2057400" indent="-228600" defTabSz="900113">
              <a:defRPr>
                <a:solidFill>
                  <a:schemeClr val="tx1"/>
                </a:solidFill>
                <a:latin typeface="Arial" charset="0"/>
              </a:defRPr>
            </a:lvl5pPr>
            <a:lvl6pPr marL="2514600" indent="-228600" defTabSz="900113" fontAlgn="base">
              <a:spcBef>
                <a:spcPct val="0"/>
              </a:spcBef>
              <a:spcAft>
                <a:spcPct val="0"/>
              </a:spcAft>
              <a:defRPr>
                <a:solidFill>
                  <a:schemeClr val="tx1"/>
                </a:solidFill>
                <a:latin typeface="Arial" charset="0"/>
              </a:defRPr>
            </a:lvl6pPr>
            <a:lvl7pPr marL="2971800" indent="-228600" defTabSz="900113" fontAlgn="base">
              <a:spcBef>
                <a:spcPct val="0"/>
              </a:spcBef>
              <a:spcAft>
                <a:spcPct val="0"/>
              </a:spcAft>
              <a:defRPr>
                <a:solidFill>
                  <a:schemeClr val="tx1"/>
                </a:solidFill>
                <a:latin typeface="Arial" charset="0"/>
              </a:defRPr>
            </a:lvl7pPr>
            <a:lvl8pPr marL="3429000" indent="-228600" defTabSz="900113" fontAlgn="base">
              <a:spcBef>
                <a:spcPct val="0"/>
              </a:spcBef>
              <a:spcAft>
                <a:spcPct val="0"/>
              </a:spcAft>
              <a:defRPr>
                <a:solidFill>
                  <a:schemeClr val="tx1"/>
                </a:solidFill>
                <a:latin typeface="Arial" charset="0"/>
              </a:defRPr>
            </a:lvl8pPr>
            <a:lvl9pPr marL="3886200" indent="-228600" defTabSz="900113" fontAlgn="base">
              <a:spcBef>
                <a:spcPct val="0"/>
              </a:spcBef>
              <a:spcAft>
                <a:spcPct val="0"/>
              </a:spcAft>
              <a:defRPr>
                <a:solidFill>
                  <a:schemeClr val="tx1"/>
                </a:solidFill>
                <a:latin typeface="Arial" charset="0"/>
              </a:defRPr>
            </a:lvl9pPr>
          </a:lstStyle>
          <a:p>
            <a:pPr algn="r"/>
            <a:fld id="{98463A26-FE33-4753-BCB1-F9D40DDBA16C}" type="slidenum">
              <a:rPr lang="en-GB" sz="1200">
                <a:solidFill>
                  <a:prstClr val="black"/>
                </a:solidFill>
              </a:rPr>
              <a:pPr algn="r"/>
              <a:t>22</a:t>
            </a:fld>
            <a:endParaRPr lang="en-GB" sz="1200">
              <a:solidFill>
                <a:prstClr val="black"/>
              </a:solidFill>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xfrm>
            <a:off x="1137667" y="4714302"/>
            <a:ext cx="4508180" cy="44677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52" tIns="44976" rIns="89952" bIns="44976"/>
          <a:lstStyle/>
          <a:p>
            <a:pPr eaLnBrk="1" hangingPunct="1"/>
            <a:endParaRPr lang="en-US" dirty="0" smtClean="0"/>
          </a:p>
        </p:txBody>
      </p:sp>
    </p:spTree>
    <p:extLst>
      <p:ext uri="{BB962C8B-B14F-4D97-AF65-F5344CB8AC3E}">
        <p14:creationId xmlns:p14="http://schemas.microsoft.com/office/powerpoint/2010/main" val="17057352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fld id="{10A82945-95E4-4305-836E-8E26AC261AD0}" type="slidenum">
              <a:rPr lang="en-GB" smtClean="0"/>
              <a:pPr/>
              <a:t>23</a:t>
            </a:fld>
            <a:endParaRPr lang="en-GB" smtClean="0"/>
          </a:p>
        </p:txBody>
      </p:sp>
    </p:spTree>
    <p:extLst>
      <p:ext uri="{BB962C8B-B14F-4D97-AF65-F5344CB8AC3E}">
        <p14:creationId xmlns:p14="http://schemas.microsoft.com/office/powerpoint/2010/main" val="16190563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fld id="{10A82945-95E4-4305-836E-8E26AC261AD0}" type="slidenum">
              <a:rPr lang="en-GB" smtClean="0"/>
              <a:pPr/>
              <a:t>24</a:t>
            </a:fld>
            <a:endParaRPr lang="en-GB" smtClean="0"/>
          </a:p>
        </p:txBody>
      </p:sp>
    </p:spTree>
    <p:extLst>
      <p:ext uri="{BB962C8B-B14F-4D97-AF65-F5344CB8AC3E}">
        <p14:creationId xmlns:p14="http://schemas.microsoft.com/office/powerpoint/2010/main" val="13998986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25</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7467184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26</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95115051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7"/>
          <p:cNvSpPr txBox="1">
            <a:spLocks noGrp="1" noChangeArrowheads="1"/>
          </p:cNvSpPr>
          <p:nvPr/>
        </p:nvSpPr>
        <p:spPr bwMode="auto">
          <a:xfrm>
            <a:off x="3850443" y="9430226"/>
            <a:ext cx="2945659" cy="494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309" tIns="45154" rIns="90309" bIns="45154" anchor="b"/>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algn="r"/>
            <a:fld id="{CB9D58D7-E520-476F-B7C4-672B162597B6}" type="slidenum">
              <a:rPr lang="en-GB" sz="1200">
                <a:solidFill>
                  <a:prstClr val="black"/>
                </a:solidFill>
              </a:rPr>
              <a:pPr algn="r"/>
              <a:t>3</a:t>
            </a:fld>
            <a:endParaRPr lang="en-GB" sz="1200">
              <a:solidFill>
                <a:prstClr val="black"/>
              </a:solidFill>
            </a:endParaRPr>
          </a:p>
        </p:txBody>
      </p:sp>
      <p:sp>
        <p:nvSpPr>
          <p:cNvPr id="29698" name="Rectangle 7"/>
          <p:cNvSpPr txBox="1">
            <a:spLocks noGrp="1" noChangeArrowheads="1"/>
          </p:cNvSpPr>
          <p:nvPr/>
        </p:nvSpPr>
        <p:spPr bwMode="auto">
          <a:xfrm>
            <a:off x="3848869" y="9430226"/>
            <a:ext cx="2947233" cy="4947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52" tIns="44976" rIns="89952" bIns="44976" anchor="b"/>
          <a:lstStyle>
            <a:lvl1pPr defTabSz="900113">
              <a:defRPr>
                <a:solidFill>
                  <a:schemeClr val="tx1"/>
                </a:solidFill>
                <a:latin typeface="Arial" charset="0"/>
              </a:defRPr>
            </a:lvl1pPr>
            <a:lvl2pPr marL="742950" indent="-285750" defTabSz="900113">
              <a:defRPr>
                <a:solidFill>
                  <a:schemeClr val="tx1"/>
                </a:solidFill>
                <a:latin typeface="Arial" charset="0"/>
              </a:defRPr>
            </a:lvl2pPr>
            <a:lvl3pPr marL="1143000" indent="-228600" defTabSz="900113">
              <a:defRPr>
                <a:solidFill>
                  <a:schemeClr val="tx1"/>
                </a:solidFill>
                <a:latin typeface="Arial" charset="0"/>
              </a:defRPr>
            </a:lvl3pPr>
            <a:lvl4pPr marL="1600200" indent="-228600" defTabSz="900113">
              <a:defRPr>
                <a:solidFill>
                  <a:schemeClr val="tx1"/>
                </a:solidFill>
                <a:latin typeface="Arial" charset="0"/>
              </a:defRPr>
            </a:lvl4pPr>
            <a:lvl5pPr marL="2057400" indent="-228600" defTabSz="900113">
              <a:defRPr>
                <a:solidFill>
                  <a:schemeClr val="tx1"/>
                </a:solidFill>
                <a:latin typeface="Arial" charset="0"/>
              </a:defRPr>
            </a:lvl5pPr>
            <a:lvl6pPr marL="2514600" indent="-228600" defTabSz="900113" fontAlgn="base">
              <a:spcBef>
                <a:spcPct val="0"/>
              </a:spcBef>
              <a:spcAft>
                <a:spcPct val="0"/>
              </a:spcAft>
              <a:defRPr>
                <a:solidFill>
                  <a:schemeClr val="tx1"/>
                </a:solidFill>
                <a:latin typeface="Arial" charset="0"/>
              </a:defRPr>
            </a:lvl6pPr>
            <a:lvl7pPr marL="2971800" indent="-228600" defTabSz="900113" fontAlgn="base">
              <a:spcBef>
                <a:spcPct val="0"/>
              </a:spcBef>
              <a:spcAft>
                <a:spcPct val="0"/>
              </a:spcAft>
              <a:defRPr>
                <a:solidFill>
                  <a:schemeClr val="tx1"/>
                </a:solidFill>
                <a:latin typeface="Arial" charset="0"/>
              </a:defRPr>
            </a:lvl7pPr>
            <a:lvl8pPr marL="3429000" indent="-228600" defTabSz="900113" fontAlgn="base">
              <a:spcBef>
                <a:spcPct val="0"/>
              </a:spcBef>
              <a:spcAft>
                <a:spcPct val="0"/>
              </a:spcAft>
              <a:defRPr>
                <a:solidFill>
                  <a:schemeClr val="tx1"/>
                </a:solidFill>
                <a:latin typeface="Arial" charset="0"/>
              </a:defRPr>
            </a:lvl8pPr>
            <a:lvl9pPr marL="3886200" indent="-228600" defTabSz="900113" fontAlgn="base">
              <a:spcBef>
                <a:spcPct val="0"/>
              </a:spcBef>
              <a:spcAft>
                <a:spcPct val="0"/>
              </a:spcAft>
              <a:defRPr>
                <a:solidFill>
                  <a:schemeClr val="tx1"/>
                </a:solidFill>
                <a:latin typeface="Arial" charset="0"/>
              </a:defRPr>
            </a:lvl9pPr>
          </a:lstStyle>
          <a:p>
            <a:pPr algn="r"/>
            <a:fld id="{98463A26-FE33-4753-BCB1-F9D40DDBA16C}" type="slidenum">
              <a:rPr lang="en-GB" sz="1200">
                <a:solidFill>
                  <a:prstClr val="black"/>
                </a:solidFill>
              </a:rPr>
              <a:pPr algn="r"/>
              <a:t>3</a:t>
            </a:fld>
            <a:endParaRPr lang="en-GB" sz="1200">
              <a:solidFill>
                <a:prstClr val="black"/>
              </a:solidFill>
            </a:endParaRPr>
          </a:p>
        </p:txBody>
      </p:sp>
      <p:sp>
        <p:nvSpPr>
          <p:cNvPr id="29699" name="Rectangle 2"/>
          <p:cNvSpPr>
            <a:spLocks noGrp="1" noRot="1" noChangeAspect="1" noChangeArrowheads="1" noTextEdit="1"/>
          </p:cNvSpPr>
          <p:nvPr>
            <p:ph type="sldImg"/>
          </p:nvPr>
        </p:nvSpPr>
        <p:spPr>
          <a:ln/>
        </p:spPr>
      </p:sp>
      <p:sp>
        <p:nvSpPr>
          <p:cNvPr id="29700" name="Rectangle 3"/>
          <p:cNvSpPr>
            <a:spLocks noGrp="1" noChangeArrowheads="1"/>
          </p:cNvSpPr>
          <p:nvPr>
            <p:ph type="body" idx="1"/>
          </p:nvPr>
        </p:nvSpPr>
        <p:spPr>
          <a:xfrm>
            <a:off x="1137667" y="4714302"/>
            <a:ext cx="4508180" cy="4467717"/>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52" tIns="44976" rIns="89952" bIns="44976"/>
          <a:lstStyle/>
          <a:p>
            <a:pPr eaLnBrk="1" hangingPunct="1"/>
            <a:endParaRPr lang="en-US" dirty="0" smtClean="0"/>
          </a:p>
        </p:txBody>
      </p:sp>
    </p:spTree>
    <p:extLst>
      <p:ext uri="{BB962C8B-B14F-4D97-AF65-F5344CB8AC3E}">
        <p14:creationId xmlns:p14="http://schemas.microsoft.com/office/powerpoint/2010/main" val="229801860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27</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0779017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28</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11827072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29</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802817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30</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02960777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31</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85309656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32</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76741590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33</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36710485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34</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6588815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35</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1004502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36</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3147998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21949" indent="-321949">
              <a:buFont typeface="Arial"/>
              <a:buChar char="•"/>
            </a:pPr>
            <a:endParaRPr lang="en-US" dirty="0">
              <a:cs typeface="Calibri"/>
            </a:endParaRPr>
          </a:p>
        </p:txBody>
      </p:sp>
      <p:sp>
        <p:nvSpPr>
          <p:cNvPr id="4" name="Slide Number Placeholder 3"/>
          <p:cNvSpPr>
            <a:spLocks noGrp="1"/>
          </p:cNvSpPr>
          <p:nvPr>
            <p:ph type="sldNum" sz="quarter" idx="5"/>
          </p:nvPr>
        </p:nvSpPr>
        <p:spPr/>
        <p:txBody>
          <a:bodyPr/>
          <a:lstStyle/>
          <a:p>
            <a:fld id="{A30168D0-694B-4854-BC07-6D9DFC78C5AC}" type="slidenum">
              <a:rPr lang="en-GB" smtClean="0"/>
              <a:t>8</a:t>
            </a:fld>
            <a:endParaRPr lang="en-GB"/>
          </a:p>
        </p:txBody>
      </p:sp>
    </p:spTree>
    <p:extLst>
      <p:ext uri="{BB962C8B-B14F-4D97-AF65-F5344CB8AC3E}">
        <p14:creationId xmlns:p14="http://schemas.microsoft.com/office/powerpoint/2010/main" val="219651375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37</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04402583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38</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414092397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39</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65984141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5" name="Slide Image Placeholder 1"/>
          <p:cNvSpPr>
            <a:spLocks noGrp="1" noRot="1" noChangeAspect="1"/>
          </p:cNvSpPr>
          <p:nvPr>
            <p:ph type="sldImg"/>
          </p:nvPr>
        </p:nvSpPr>
        <p:spPr>
          <a:ln/>
        </p:spPr>
      </p:sp>
      <p:sp>
        <p:nvSpPr>
          <p:cNvPr id="31746"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171450" indent="-171450">
              <a:buFontTx/>
              <a:buChar char="-"/>
            </a:pPr>
            <a:endParaRPr lang="en-US" dirty="0" smtClean="0"/>
          </a:p>
        </p:txBody>
      </p:sp>
      <p:sp>
        <p:nvSpPr>
          <p:cNvPr id="31747"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03288">
              <a:defRPr>
                <a:solidFill>
                  <a:schemeClr val="tx1"/>
                </a:solidFill>
                <a:latin typeface="Arial" charset="0"/>
              </a:defRPr>
            </a:lvl1pPr>
            <a:lvl2pPr marL="742950" indent="-285750" defTabSz="903288">
              <a:defRPr>
                <a:solidFill>
                  <a:schemeClr val="tx1"/>
                </a:solidFill>
                <a:latin typeface="Arial" charset="0"/>
              </a:defRPr>
            </a:lvl2pPr>
            <a:lvl3pPr marL="1143000" indent="-228600" defTabSz="903288">
              <a:defRPr>
                <a:solidFill>
                  <a:schemeClr val="tx1"/>
                </a:solidFill>
                <a:latin typeface="Arial" charset="0"/>
              </a:defRPr>
            </a:lvl3pPr>
            <a:lvl4pPr marL="1600200" indent="-228600" defTabSz="903288">
              <a:defRPr>
                <a:solidFill>
                  <a:schemeClr val="tx1"/>
                </a:solidFill>
                <a:latin typeface="Arial" charset="0"/>
              </a:defRPr>
            </a:lvl4pPr>
            <a:lvl5pPr marL="2057400" indent="-228600" defTabSz="903288">
              <a:defRPr>
                <a:solidFill>
                  <a:schemeClr val="tx1"/>
                </a:solidFill>
                <a:latin typeface="Arial" charset="0"/>
              </a:defRPr>
            </a:lvl5pPr>
            <a:lvl6pPr marL="2514600" indent="-228600" defTabSz="903288" fontAlgn="base">
              <a:spcBef>
                <a:spcPct val="0"/>
              </a:spcBef>
              <a:spcAft>
                <a:spcPct val="0"/>
              </a:spcAft>
              <a:defRPr>
                <a:solidFill>
                  <a:schemeClr val="tx1"/>
                </a:solidFill>
                <a:latin typeface="Arial" charset="0"/>
              </a:defRPr>
            </a:lvl6pPr>
            <a:lvl7pPr marL="2971800" indent="-228600" defTabSz="903288" fontAlgn="base">
              <a:spcBef>
                <a:spcPct val="0"/>
              </a:spcBef>
              <a:spcAft>
                <a:spcPct val="0"/>
              </a:spcAft>
              <a:defRPr>
                <a:solidFill>
                  <a:schemeClr val="tx1"/>
                </a:solidFill>
                <a:latin typeface="Arial" charset="0"/>
              </a:defRPr>
            </a:lvl7pPr>
            <a:lvl8pPr marL="3429000" indent="-228600" defTabSz="903288" fontAlgn="base">
              <a:spcBef>
                <a:spcPct val="0"/>
              </a:spcBef>
              <a:spcAft>
                <a:spcPct val="0"/>
              </a:spcAft>
              <a:defRPr>
                <a:solidFill>
                  <a:schemeClr val="tx1"/>
                </a:solidFill>
                <a:latin typeface="Arial" charset="0"/>
              </a:defRPr>
            </a:lvl8pPr>
            <a:lvl9pPr marL="3886200" indent="-228600" defTabSz="903288" fontAlgn="base">
              <a:spcBef>
                <a:spcPct val="0"/>
              </a:spcBef>
              <a:spcAft>
                <a:spcPct val="0"/>
              </a:spcAft>
              <a:defRPr>
                <a:solidFill>
                  <a:schemeClr val="tx1"/>
                </a:solidFill>
                <a:latin typeface="Arial" charset="0"/>
              </a:defRPr>
            </a:lvl9pPr>
          </a:lstStyle>
          <a:p>
            <a:pPr marL="0" marR="0" lvl="0" indent="0" algn="r" defTabSz="903288" rtl="0" eaLnBrk="1" fontAlgn="base" latinLnBrk="0" hangingPunct="1">
              <a:lnSpc>
                <a:spcPct val="100000"/>
              </a:lnSpc>
              <a:spcBef>
                <a:spcPct val="0"/>
              </a:spcBef>
              <a:spcAft>
                <a:spcPct val="0"/>
              </a:spcAft>
              <a:buClrTx/>
              <a:buSzTx/>
              <a:buFontTx/>
              <a:buNone/>
              <a:tabLst/>
              <a:defRPr/>
            </a:pPr>
            <a:fld id="{10A82945-95E4-4305-836E-8E26AC261AD0}"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03288" rtl="0" eaLnBrk="1" fontAlgn="base" latinLnBrk="0" hangingPunct="1">
                <a:lnSpc>
                  <a:spcPct val="100000"/>
                </a:lnSpc>
                <a:spcBef>
                  <a:spcPct val="0"/>
                </a:spcBef>
                <a:spcAft>
                  <a:spcPct val="0"/>
                </a:spcAft>
                <a:buClrTx/>
                <a:buSzTx/>
                <a:buFontTx/>
                <a:buNone/>
                <a:tabLst/>
                <a:defRPr/>
              </a:pPr>
              <a:t>40</a:t>
            </a:fld>
            <a:endParaRPr kumimoji="0" lang="en-GB" sz="1200" b="0" i="0" u="none" strike="noStrike" kern="1200" cap="none" spc="0" normalizeH="0" baseline="0" noProof="0" smtClean="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03339061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AB22DA4A-099F-48F4-8599-579EA44843EA}"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1</a:t>
            </a:fld>
            <a:endParaRPr kumimoji="0" lang="en-GB"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34848472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168D0-694B-4854-BC07-6D9DFC78C5AC}" type="slidenum">
              <a:rPr kumimoji="0" lang="en-GB" sz="2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sz="2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40298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A30168D0-694B-4854-BC07-6D9DFC78C5AC}" type="slidenum">
              <a:rPr lang="en-GB" smtClean="0"/>
              <a:t>11</a:t>
            </a:fld>
            <a:endParaRPr lang="en-GB"/>
          </a:p>
        </p:txBody>
      </p:sp>
    </p:spTree>
    <p:extLst>
      <p:ext uri="{BB962C8B-B14F-4D97-AF65-F5344CB8AC3E}">
        <p14:creationId xmlns:p14="http://schemas.microsoft.com/office/powerpoint/2010/main" val="10571148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0168D0-694B-4854-BC07-6D9DFC78C5AC}" type="slidenum">
              <a:rPr kumimoji="0" lang="en-GB" sz="23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23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32156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87506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1459921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398B954-2888-4EEA-BC75-22288D66EB1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215727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bwMode="auto">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13"/>
          <p:cNvSpPr>
            <a:spLocks noChangeArrowheads="1"/>
          </p:cNvSpPr>
          <p:nvPr/>
        </p:nvSpPr>
        <p:spPr bwMode="auto">
          <a:xfrm>
            <a:off x="1" y="5365752"/>
            <a:ext cx="9140825" cy="665163"/>
          </a:xfrm>
          <a:prstGeom prst="rect">
            <a:avLst/>
          </a:prstGeom>
          <a:solidFill>
            <a:srgbClr val="003E72"/>
          </a:solidFill>
          <a:ln>
            <a:noFill/>
          </a:ln>
          <a:effectLst/>
          <a:extLst>
            <a:ext uri="{91240B29-F687-4F45-9708-019B960494DF}">
              <a14:hiddenLine xmlns:a14="http://schemas.microsoft.com/office/drawing/2010/main" w="127">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dirty="0" smtClean="0">
              <a:solidFill>
                <a:srgbClr val="003E72"/>
              </a:solidFill>
            </a:endParaRPr>
          </a:p>
        </p:txBody>
      </p:sp>
      <p:sp>
        <p:nvSpPr>
          <p:cNvPr id="5" name="Rectangle 14"/>
          <p:cNvSpPr>
            <a:spLocks noChangeArrowheads="1"/>
          </p:cNvSpPr>
          <p:nvPr/>
        </p:nvSpPr>
        <p:spPr bwMode="auto">
          <a:xfrm>
            <a:off x="1" y="6030915"/>
            <a:ext cx="9140825" cy="173037"/>
          </a:xfrm>
          <a:prstGeom prst="rect">
            <a:avLst/>
          </a:prstGeom>
          <a:solidFill>
            <a:srgbClr val="6AADE4"/>
          </a:solidFill>
          <a:ln>
            <a:noFill/>
          </a:ln>
          <a:effectLst/>
          <a:extLst>
            <a:ext uri="{91240B29-F687-4F45-9708-019B960494DF}">
              <a14:hiddenLine xmlns:a14="http://schemas.microsoft.com/office/drawing/2010/main" w="127">
                <a:solidFill>
                  <a:srgbClr val="00000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eaLnBrk="1" fontAlgn="base" hangingPunct="1">
              <a:spcBef>
                <a:spcPct val="0"/>
              </a:spcBef>
              <a:spcAft>
                <a:spcPct val="0"/>
              </a:spcAft>
              <a:defRPr/>
            </a:pPr>
            <a:endParaRPr lang="en-US" altLang="en-US" sz="1350" dirty="0" smtClean="0">
              <a:solidFill>
                <a:srgbClr val="003E72"/>
              </a:solidFill>
            </a:endParaRPr>
          </a:p>
        </p:txBody>
      </p:sp>
      <p:sp>
        <p:nvSpPr>
          <p:cNvPr id="5122" name="Rectangle 2"/>
          <p:cNvSpPr>
            <a:spLocks noGrp="1" noChangeArrowheads="1"/>
          </p:cNvSpPr>
          <p:nvPr>
            <p:ph type="ctrTitle"/>
          </p:nvPr>
        </p:nvSpPr>
        <p:spPr>
          <a:xfrm>
            <a:off x="384176" y="2016127"/>
            <a:ext cx="8374063" cy="576263"/>
          </a:xfrm>
        </p:spPr>
        <p:txBody>
          <a:bodyPr/>
          <a:lstStyle>
            <a:lvl1pPr>
              <a:defRPr sz="2700"/>
            </a:lvl1pPr>
          </a:lstStyle>
          <a:p>
            <a:pPr lvl="0"/>
            <a:r>
              <a:rPr lang="en-GB" altLang="en-US" noProof="0" smtClean="0"/>
              <a:t>Click to edit Master title style</a:t>
            </a:r>
          </a:p>
        </p:txBody>
      </p:sp>
      <p:sp>
        <p:nvSpPr>
          <p:cNvPr id="5123" name="Rectangle 3"/>
          <p:cNvSpPr>
            <a:spLocks noGrp="1" noChangeArrowheads="1"/>
          </p:cNvSpPr>
          <p:nvPr>
            <p:ph type="subTitle" idx="1"/>
          </p:nvPr>
        </p:nvSpPr>
        <p:spPr>
          <a:xfrm>
            <a:off x="384176" y="2774950"/>
            <a:ext cx="8374063" cy="539750"/>
          </a:xfrm>
        </p:spPr>
        <p:txBody>
          <a:bodyPr/>
          <a:lstStyle>
            <a:lvl1pPr marL="0" indent="0">
              <a:buFontTx/>
              <a:buNone/>
              <a:defRPr sz="1350" b="1">
                <a:solidFill>
                  <a:schemeClr val="tx2"/>
                </a:solidFill>
              </a:defRPr>
            </a:lvl1pPr>
          </a:lstStyle>
          <a:p>
            <a:pPr lvl="0"/>
            <a:r>
              <a:rPr lang="en-GB" altLang="en-US" noProof="0" smtClean="0"/>
              <a:t>Click to edit Master subtitle style</a:t>
            </a:r>
          </a:p>
        </p:txBody>
      </p:sp>
      <p:sp>
        <p:nvSpPr>
          <p:cNvPr id="6" name="Rectangle 10"/>
          <p:cNvSpPr>
            <a:spLocks noGrp="1" noChangeArrowheads="1"/>
          </p:cNvSpPr>
          <p:nvPr>
            <p:ph type="sldNum" sz="quarter" idx="10"/>
          </p:nvPr>
        </p:nvSpPr>
        <p:spPr>
          <a:xfrm>
            <a:off x="7862889" y="6448425"/>
            <a:ext cx="900112" cy="179388"/>
          </a:xfrm>
        </p:spPr>
        <p:txBody>
          <a:bodyPr/>
          <a:lstStyle>
            <a:lvl1pPr>
              <a:defRPr>
                <a:solidFill>
                  <a:schemeClr val="tx1"/>
                </a:solidFill>
              </a:defRPr>
            </a:lvl1pPr>
          </a:lstStyle>
          <a:p>
            <a:pPr>
              <a:defRPr/>
            </a:pPr>
            <a:fld id="{08BCD919-132B-49DF-A2C6-FA922BC216FD}" type="slidenum">
              <a:rPr lang="en-GB" altLang="en-US">
                <a:solidFill>
                  <a:srgbClr val="003E72"/>
                </a:solidFill>
              </a:rPr>
              <a:pPr>
                <a:defRPr/>
              </a:pPr>
              <a:t>‹#›</a:t>
            </a:fld>
            <a:endParaRPr lang="en-GB" altLang="en-US" dirty="0">
              <a:solidFill>
                <a:srgbClr val="003E72"/>
              </a:solidFill>
            </a:endParaRPr>
          </a:p>
        </p:txBody>
      </p:sp>
    </p:spTree>
    <p:extLst>
      <p:ext uri="{BB962C8B-B14F-4D97-AF65-F5344CB8AC3E}">
        <p14:creationId xmlns:p14="http://schemas.microsoft.com/office/powerpoint/2010/main" val="26517808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78F6F006-06BF-4494-9E6F-FE0AEEFE0C38}"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8284429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65914" y="398463"/>
            <a:ext cx="2093912" cy="5376862"/>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384175" y="398463"/>
            <a:ext cx="6129338" cy="5376862"/>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8790FE99-22FF-4E8C-A78C-294C5A2299F7}"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31498581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182" y="1520826"/>
            <a:ext cx="8039833" cy="4645025"/>
          </a:xfrm>
        </p:spPr>
        <p:txBody>
          <a:bodyPr>
            <a:noAutofit/>
          </a:bodyPr>
          <a:lstStyle>
            <a:lvl5pPr>
              <a:defRPr/>
            </a:lvl5pPr>
            <a:lvl6pPr>
              <a:defRPr baseline="0"/>
            </a:lvl6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Text Placeholder 7"/>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2811447182"/>
      </p:ext>
    </p:extLst>
  </p:cSld>
  <p:clrMapOvr>
    <a:masterClrMapping/>
  </p:clrMapOvr>
  <p:transition>
    <p:fade/>
  </p:transition>
  <p:extLst>
    <p:ext uri="{DCECCB84-F9BA-43D5-87BE-67443E8EF086}">
      <p15:sldGuideLst xmlns:p15="http://schemas.microsoft.com/office/powerpoint/2012/main">
        <p15:guide id="3" orient="horz" pos="3884">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a:t>CLICK TO EDIT Title </a:t>
            </a:r>
          </a:p>
          <a:p>
            <a:pPr lvl="1"/>
            <a:r>
              <a:rPr lang="en-US"/>
              <a:t>Second level</a:t>
            </a:r>
          </a:p>
        </p:txBody>
      </p:sp>
    </p:spTree>
    <p:extLst>
      <p:ext uri="{BB962C8B-B14F-4D97-AF65-F5344CB8AC3E}">
        <p14:creationId xmlns:p14="http://schemas.microsoft.com/office/powerpoint/2010/main" val="371966514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2" y="1520826"/>
            <a:ext cx="8039833" cy="4645025"/>
          </a:xfrm>
        </p:spPr>
        <p:txBody>
          <a:bodyPr numCol="3" spcCol="180000">
            <a:noAutofit/>
          </a:bodyPr>
          <a:lstStyle>
            <a:lvl5pPr>
              <a:defRPr/>
            </a:lvl5pPr>
            <a:lvl6pPr>
              <a:defRPr baseline="0"/>
            </a:lvl6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53182" y="586863"/>
            <a:ext cx="8038523" cy="718063"/>
          </a:xfrm>
        </p:spPr>
        <p:txBody>
          <a:bodyPr tIns="0" rIns="0" bIns="0" anchor="t">
            <a:noAutofit/>
          </a:bodyPr>
          <a:lstStyle>
            <a:lvl1pPr>
              <a:lnSpc>
                <a:spcPct val="100000"/>
              </a:lnSpc>
              <a:spcBef>
                <a:spcPts val="0"/>
              </a:spcBef>
              <a:spcAft>
                <a:spcPts val="0"/>
              </a:spcAft>
              <a:defRPr sz="2031" b="1" cap="none" spc="0" baseline="0">
                <a:solidFill>
                  <a:schemeClr val="bg2"/>
                </a:solidFill>
              </a:defRPr>
            </a:lvl1pPr>
            <a:lvl2pPr>
              <a:lnSpc>
                <a:spcPct val="100000"/>
              </a:lnSpc>
              <a:spcBef>
                <a:spcPts val="0"/>
              </a:spcBef>
              <a:spcAft>
                <a:spcPts val="0"/>
              </a:spcAft>
              <a:defRPr sz="1569" b="0" cap="none" spc="0">
                <a:solidFill>
                  <a:schemeClr val="tx1"/>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GB"/>
              <a:t>Click to edit title </a:t>
            </a:r>
          </a:p>
          <a:p>
            <a:pPr lvl="1"/>
            <a:r>
              <a:rPr lang="en-GB"/>
              <a:t>Second level</a:t>
            </a:r>
          </a:p>
        </p:txBody>
      </p:sp>
    </p:spTree>
    <p:extLst>
      <p:ext uri="{BB962C8B-B14F-4D97-AF65-F5344CB8AC3E}">
        <p14:creationId xmlns:p14="http://schemas.microsoft.com/office/powerpoint/2010/main" val="3828234455"/>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522234" y="1613102"/>
            <a:ext cx="6554867" cy="3767670"/>
          </a:xfrm>
        </p:spPr>
        <p:txBody>
          <a:bodyPr anchor="ct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3"/>
          <p:cNvSpPr>
            <a:spLocks noGrp="1"/>
          </p:cNvSpPr>
          <p:nvPr>
            <p:ph type="dt" sz="half" idx="10"/>
          </p:nvPr>
        </p:nvSpPr>
        <p:spPr>
          <a:xfrm>
            <a:off x="6351276" y="6354764"/>
            <a:ext cx="1461084" cy="365125"/>
          </a:xfrm>
          <a:prstGeom prst="rect">
            <a:avLst/>
          </a:prstGeom>
        </p:spPr>
        <p:txBody>
          <a:bodyPr/>
          <a:lstStyle>
            <a:lvl1pPr>
              <a:defRPr>
                <a:solidFill>
                  <a:schemeClr val="tx1"/>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fld id="{5A2AEFFE-4154-4FE8-896D-315EDFF6040A}" type="datetimeFigureOut">
              <a:rPr kumimoji="0" lang="en-GB" sz="1800" b="0" i="0" u="none" strike="noStrike" kern="1200" cap="none" spc="0" normalizeH="0" baseline="0" noProof="0" smtClean="0">
                <a:ln>
                  <a:noFill/>
                </a:ln>
                <a:solidFill>
                  <a:srgbClr val="003E72"/>
                </a:solidFill>
                <a:effectLst/>
                <a:uLnTx/>
                <a:uFillTx/>
                <a:latin typeface="Arial" charset="0"/>
                <a:ea typeface="+mn-ea"/>
                <a:cs typeface="+mn-cs"/>
              </a:rPr>
              <a:pPr marL="0" marR="0" lvl="0" indent="0" algn="l" defTabSz="914400" rtl="0" eaLnBrk="1" fontAlgn="base" latinLnBrk="0" hangingPunct="1">
                <a:lnSpc>
                  <a:spcPct val="100000"/>
                </a:lnSpc>
                <a:spcBef>
                  <a:spcPct val="0"/>
                </a:spcBef>
                <a:spcAft>
                  <a:spcPct val="0"/>
                </a:spcAft>
                <a:buClrTx/>
                <a:buSzTx/>
                <a:buFontTx/>
                <a:buNone/>
                <a:tabLst/>
                <a:defRPr/>
              </a:pPr>
              <a:t>24/01/2020</a:t>
            </a:fld>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sp>
        <p:nvSpPr>
          <p:cNvPr id="8" name="Footer Placeholder 4"/>
          <p:cNvSpPr>
            <a:spLocks noGrp="1"/>
          </p:cNvSpPr>
          <p:nvPr>
            <p:ph type="ftr" sz="quarter" idx="11"/>
          </p:nvPr>
        </p:nvSpPr>
        <p:spPr>
          <a:xfrm>
            <a:off x="539552" y="6354765"/>
            <a:ext cx="5811724" cy="365125"/>
          </a:xfrm>
          <a:prstGeom prst="rect">
            <a:avLst/>
          </a:prstGeom>
        </p:spPr>
        <p:txBody>
          <a:bodyPr/>
          <a:lstStyle>
            <a:lvl1pPr>
              <a:defRPr>
                <a:solidFill>
                  <a:schemeClr val="tx1"/>
                </a:solidFill>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sp>
        <p:nvSpPr>
          <p:cNvPr id="9" name="Slide Number Placeholder 5"/>
          <p:cNvSpPr>
            <a:spLocks noGrp="1"/>
          </p:cNvSpPr>
          <p:nvPr>
            <p:ph type="sldNum" sz="quarter" idx="12"/>
          </p:nvPr>
        </p:nvSpPr>
        <p:spPr>
          <a:xfrm>
            <a:off x="8218891" y="6285708"/>
            <a:ext cx="655643" cy="503236"/>
          </a:xfrm>
          <a:prstGeom prst="rect">
            <a:avLst/>
          </a:prstGeom>
        </p:spPr>
        <p:txBody>
          <a:bodyPr/>
          <a:lstStyle>
            <a:lvl1pPr>
              <a:defRPr>
                <a:solidFill>
                  <a:schemeClr val="tx1"/>
                </a:solidFill>
              </a:defRPr>
            </a:lvl1pPr>
          </a:lstStyle>
          <a:p>
            <a:pPr marL="0" marR="0" lvl="0" indent="0" algn="r" defTabSz="914400" rtl="0" eaLnBrk="1" fontAlgn="base" latinLnBrk="0" hangingPunct="1">
              <a:lnSpc>
                <a:spcPct val="100000"/>
              </a:lnSpc>
              <a:spcBef>
                <a:spcPct val="0"/>
              </a:spcBef>
              <a:spcAft>
                <a:spcPct val="0"/>
              </a:spcAft>
              <a:buClrTx/>
              <a:buSzTx/>
              <a:buFontTx/>
              <a:buNone/>
              <a:tabLst/>
              <a:defRPr/>
            </a:pPr>
            <a:fld id="{438BB0D3-E373-4CE0-999E-9C6B979C2868}" type="slidenum">
              <a:rPr kumimoji="0" lang="en-GB" sz="750" b="0" i="0" u="none" strike="noStrike" kern="1200" cap="none" spc="0" normalizeH="0" baseline="0" noProof="0" smtClean="0">
                <a:ln>
                  <a:noFill/>
                </a:ln>
                <a:solidFill>
                  <a:srgbClr val="003E72"/>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a:t>
            </a:fld>
            <a:endParaRPr kumimoji="0" lang="en-GB" sz="750" b="0" i="0" u="none" strike="noStrike" kern="1200" cap="none" spc="0" normalizeH="0" baseline="0" noProof="0" dirty="0">
              <a:ln>
                <a:noFill/>
              </a:ln>
              <a:solidFill>
                <a:srgbClr val="003E72"/>
              </a:solidFill>
              <a:effectLst/>
              <a:uLnTx/>
              <a:uFillTx/>
              <a:latin typeface="Arial" charset="0"/>
              <a:ea typeface="+mn-ea"/>
              <a:cs typeface="+mn-cs"/>
            </a:endParaRPr>
          </a:p>
        </p:txBody>
      </p:sp>
    </p:spTree>
    <p:extLst>
      <p:ext uri="{BB962C8B-B14F-4D97-AF65-F5344CB8AC3E}">
        <p14:creationId xmlns:p14="http://schemas.microsoft.com/office/powerpoint/2010/main" val="285805869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Slide A (Dark Logo)">
    <p:spTree>
      <p:nvGrpSpPr>
        <p:cNvPr id="1" name=""/>
        <p:cNvGrpSpPr/>
        <p:nvPr/>
      </p:nvGrpSpPr>
      <p:grpSpPr>
        <a:xfrm>
          <a:off x="0" y="0"/>
          <a:ext cx="0" cy="0"/>
          <a:chOff x="0" y="0"/>
          <a:chExt cx="0" cy="0"/>
        </a:xfrm>
      </p:grpSpPr>
      <p:sp>
        <p:nvSpPr>
          <p:cNvPr id="14" name="Freeform 13"/>
          <p:cNvSpPr>
            <a:spLocks/>
          </p:cNvSpPr>
          <p:nvPr userDrawn="1"/>
        </p:nvSpPr>
        <p:spPr bwMode="auto">
          <a:xfrm>
            <a:off x="7868016" y="336363"/>
            <a:ext cx="757304" cy="820411"/>
          </a:xfrm>
          <a:custGeom>
            <a:avLst/>
            <a:gdLst>
              <a:gd name="T0" fmla="*/ 1875 w 3327"/>
              <a:gd name="T1" fmla="*/ 13 h 3326"/>
              <a:gd name="T2" fmla="*/ 2175 w 3327"/>
              <a:gd name="T3" fmla="*/ 80 h 3326"/>
              <a:gd name="T4" fmla="*/ 2452 w 3327"/>
              <a:gd name="T5" fmla="*/ 198 h 3326"/>
              <a:gd name="T6" fmla="*/ 2532 w 3327"/>
              <a:gd name="T7" fmla="*/ 328 h 3326"/>
              <a:gd name="T8" fmla="*/ 2559 w 3327"/>
              <a:gd name="T9" fmla="*/ 486 h 3326"/>
              <a:gd name="T10" fmla="*/ 2634 w 3327"/>
              <a:gd name="T11" fmla="*/ 620 h 3326"/>
              <a:gd name="T12" fmla="*/ 2748 w 3327"/>
              <a:gd name="T13" fmla="*/ 722 h 3326"/>
              <a:gd name="T14" fmla="*/ 2891 w 3327"/>
              <a:gd name="T15" fmla="*/ 784 h 3326"/>
              <a:gd name="T16" fmla="*/ 3039 w 3327"/>
              <a:gd name="T17" fmla="*/ 794 h 3326"/>
              <a:gd name="T18" fmla="*/ 3146 w 3327"/>
              <a:gd name="T19" fmla="*/ 907 h 3326"/>
              <a:gd name="T20" fmla="*/ 3044 w 3327"/>
              <a:gd name="T21" fmla="*/ 974 h 3326"/>
              <a:gd name="T22" fmla="*/ 2975 w 3327"/>
              <a:gd name="T23" fmla="*/ 1073 h 3326"/>
              <a:gd name="T24" fmla="*/ 2950 w 3327"/>
              <a:gd name="T25" fmla="*/ 1197 h 3326"/>
              <a:gd name="T26" fmla="*/ 2978 w 3327"/>
              <a:gd name="T27" fmla="*/ 1328 h 3326"/>
              <a:gd name="T28" fmla="*/ 3056 w 3327"/>
              <a:gd name="T29" fmla="*/ 1432 h 3326"/>
              <a:gd name="T30" fmla="*/ 3171 w 3327"/>
              <a:gd name="T31" fmla="*/ 1496 h 3326"/>
              <a:gd name="T32" fmla="*/ 3291 w 3327"/>
              <a:gd name="T33" fmla="*/ 1507 h 3326"/>
              <a:gd name="T34" fmla="*/ 3327 w 3327"/>
              <a:gd name="T35" fmla="*/ 1664 h 3326"/>
              <a:gd name="T36" fmla="*/ 3296 w 3327"/>
              <a:gd name="T37" fmla="*/ 1985 h 3326"/>
              <a:gd name="T38" fmla="*/ 3207 w 3327"/>
              <a:gd name="T39" fmla="*/ 2286 h 3326"/>
              <a:gd name="T40" fmla="*/ 3064 w 3327"/>
              <a:gd name="T41" fmla="*/ 2560 h 3326"/>
              <a:gd name="T42" fmla="*/ 2876 w 3327"/>
              <a:gd name="T43" fmla="*/ 2803 h 3326"/>
              <a:gd name="T44" fmla="*/ 2646 w 3327"/>
              <a:gd name="T45" fmla="*/ 3006 h 3326"/>
              <a:gd name="T46" fmla="*/ 2382 w 3327"/>
              <a:gd name="T47" fmla="*/ 3164 h 3326"/>
              <a:gd name="T48" fmla="*/ 2089 w 3327"/>
              <a:gd name="T49" fmla="*/ 3272 h 3326"/>
              <a:gd name="T50" fmla="*/ 1773 w 3327"/>
              <a:gd name="T51" fmla="*/ 3323 h 3326"/>
              <a:gd name="T52" fmla="*/ 1446 w 3327"/>
              <a:gd name="T53" fmla="*/ 3312 h 3326"/>
              <a:gd name="T54" fmla="*/ 1137 w 3327"/>
              <a:gd name="T55" fmla="*/ 3241 h 3326"/>
              <a:gd name="T56" fmla="*/ 854 w 3327"/>
              <a:gd name="T57" fmla="*/ 3116 h 3326"/>
              <a:gd name="T58" fmla="*/ 600 w 3327"/>
              <a:gd name="T59" fmla="*/ 2942 h 3326"/>
              <a:gd name="T60" fmla="*/ 384 w 3327"/>
              <a:gd name="T61" fmla="*/ 2726 h 3326"/>
              <a:gd name="T62" fmla="*/ 210 w 3327"/>
              <a:gd name="T63" fmla="*/ 2473 h 3326"/>
              <a:gd name="T64" fmla="*/ 85 w 3327"/>
              <a:gd name="T65" fmla="*/ 2189 h 3326"/>
              <a:gd name="T66" fmla="*/ 14 w 3327"/>
              <a:gd name="T67" fmla="*/ 1880 h 3326"/>
              <a:gd name="T68" fmla="*/ 3 w 3327"/>
              <a:gd name="T69" fmla="*/ 1554 h 3326"/>
              <a:gd name="T70" fmla="*/ 54 w 3327"/>
              <a:gd name="T71" fmla="*/ 1238 h 3326"/>
              <a:gd name="T72" fmla="*/ 163 w 3327"/>
              <a:gd name="T73" fmla="*/ 946 h 3326"/>
              <a:gd name="T74" fmla="*/ 321 w 3327"/>
              <a:gd name="T75" fmla="*/ 681 h 3326"/>
              <a:gd name="T76" fmla="*/ 524 w 3327"/>
              <a:gd name="T77" fmla="*/ 452 h 3326"/>
              <a:gd name="T78" fmla="*/ 766 w 3327"/>
              <a:gd name="T79" fmla="*/ 263 h 3326"/>
              <a:gd name="T80" fmla="*/ 1040 w 3327"/>
              <a:gd name="T81" fmla="*/ 121 h 3326"/>
              <a:gd name="T82" fmla="*/ 1341 w 3327"/>
              <a:gd name="T83" fmla="*/ 32 h 3326"/>
              <a:gd name="T84" fmla="*/ 1664 w 3327"/>
              <a:gd name="T85" fmla="*/ 0 h 3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327" h="3326">
                <a:moveTo>
                  <a:pt x="1664" y="0"/>
                </a:moveTo>
                <a:lnTo>
                  <a:pt x="1769" y="3"/>
                </a:lnTo>
                <a:lnTo>
                  <a:pt x="1875" y="13"/>
                </a:lnTo>
                <a:lnTo>
                  <a:pt x="1977" y="29"/>
                </a:lnTo>
                <a:lnTo>
                  <a:pt x="2076" y="52"/>
                </a:lnTo>
                <a:lnTo>
                  <a:pt x="2175" y="80"/>
                </a:lnTo>
                <a:lnTo>
                  <a:pt x="2270" y="114"/>
                </a:lnTo>
                <a:lnTo>
                  <a:pt x="2363" y="154"/>
                </a:lnTo>
                <a:lnTo>
                  <a:pt x="2452" y="198"/>
                </a:lnTo>
                <a:lnTo>
                  <a:pt x="2538" y="248"/>
                </a:lnTo>
                <a:lnTo>
                  <a:pt x="2533" y="288"/>
                </a:lnTo>
                <a:lnTo>
                  <a:pt x="2532" y="328"/>
                </a:lnTo>
                <a:lnTo>
                  <a:pt x="2535" y="384"/>
                </a:lnTo>
                <a:lnTo>
                  <a:pt x="2544" y="436"/>
                </a:lnTo>
                <a:lnTo>
                  <a:pt x="2559" y="486"/>
                </a:lnTo>
                <a:lnTo>
                  <a:pt x="2579" y="534"/>
                </a:lnTo>
                <a:lnTo>
                  <a:pt x="2604" y="579"/>
                </a:lnTo>
                <a:lnTo>
                  <a:pt x="2634" y="620"/>
                </a:lnTo>
                <a:lnTo>
                  <a:pt x="2668" y="659"/>
                </a:lnTo>
                <a:lnTo>
                  <a:pt x="2706" y="693"/>
                </a:lnTo>
                <a:lnTo>
                  <a:pt x="2748" y="722"/>
                </a:lnTo>
                <a:lnTo>
                  <a:pt x="2793" y="748"/>
                </a:lnTo>
                <a:lnTo>
                  <a:pt x="2841" y="769"/>
                </a:lnTo>
                <a:lnTo>
                  <a:pt x="2891" y="784"/>
                </a:lnTo>
                <a:lnTo>
                  <a:pt x="2944" y="793"/>
                </a:lnTo>
                <a:lnTo>
                  <a:pt x="2998" y="796"/>
                </a:lnTo>
                <a:lnTo>
                  <a:pt x="3039" y="794"/>
                </a:lnTo>
                <a:lnTo>
                  <a:pt x="3079" y="788"/>
                </a:lnTo>
                <a:lnTo>
                  <a:pt x="3113" y="847"/>
                </a:lnTo>
                <a:lnTo>
                  <a:pt x="3146" y="907"/>
                </a:lnTo>
                <a:lnTo>
                  <a:pt x="3108" y="925"/>
                </a:lnTo>
                <a:lnTo>
                  <a:pt x="3074" y="947"/>
                </a:lnTo>
                <a:lnTo>
                  <a:pt x="3044" y="974"/>
                </a:lnTo>
                <a:lnTo>
                  <a:pt x="3016" y="1003"/>
                </a:lnTo>
                <a:lnTo>
                  <a:pt x="2993" y="1037"/>
                </a:lnTo>
                <a:lnTo>
                  <a:pt x="2975" y="1073"/>
                </a:lnTo>
                <a:lnTo>
                  <a:pt x="2961" y="1112"/>
                </a:lnTo>
                <a:lnTo>
                  <a:pt x="2952" y="1154"/>
                </a:lnTo>
                <a:lnTo>
                  <a:pt x="2950" y="1197"/>
                </a:lnTo>
                <a:lnTo>
                  <a:pt x="2953" y="1243"/>
                </a:lnTo>
                <a:lnTo>
                  <a:pt x="2962" y="1286"/>
                </a:lnTo>
                <a:lnTo>
                  <a:pt x="2978" y="1328"/>
                </a:lnTo>
                <a:lnTo>
                  <a:pt x="2999" y="1367"/>
                </a:lnTo>
                <a:lnTo>
                  <a:pt x="3026" y="1402"/>
                </a:lnTo>
                <a:lnTo>
                  <a:pt x="3056" y="1432"/>
                </a:lnTo>
                <a:lnTo>
                  <a:pt x="3091" y="1459"/>
                </a:lnTo>
                <a:lnTo>
                  <a:pt x="3130" y="1480"/>
                </a:lnTo>
                <a:lnTo>
                  <a:pt x="3171" y="1496"/>
                </a:lnTo>
                <a:lnTo>
                  <a:pt x="3215" y="1505"/>
                </a:lnTo>
                <a:lnTo>
                  <a:pt x="3261" y="1508"/>
                </a:lnTo>
                <a:lnTo>
                  <a:pt x="3291" y="1507"/>
                </a:lnTo>
                <a:lnTo>
                  <a:pt x="3319" y="1504"/>
                </a:lnTo>
                <a:lnTo>
                  <a:pt x="3326" y="1583"/>
                </a:lnTo>
                <a:lnTo>
                  <a:pt x="3327" y="1664"/>
                </a:lnTo>
                <a:lnTo>
                  <a:pt x="3323" y="1772"/>
                </a:lnTo>
                <a:lnTo>
                  <a:pt x="3313" y="1880"/>
                </a:lnTo>
                <a:lnTo>
                  <a:pt x="3296" y="1985"/>
                </a:lnTo>
                <a:lnTo>
                  <a:pt x="3272" y="2088"/>
                </a:lnTo>
                <a:lnTo>
                  <a:pt x="3242" y="2189"/>
                </a:lnTo>
                <a:lnTo>
                  <a:pt x="3207" y="2286"/>
                </a:lnTo>
                <a:lnTo>
                  <a:pt x="3165" y="2382"/>
                </a:lnTo>
                <a:lnTo>
                  <a:pt x="3117" y="2473"/>
                </a:lnTo>
                <a:lnTo>
                  <a:pt x="3064" y="2560"/>
                </a:lnTo>
                <a:lnTo>
                  <a:pt x="3006" y="2645"/>
                </a:lnTo>
                <a:lnTo>
                  <a:pt x="2943" y="2726"/>
                </a:lnTo>
                <a:lnTo>
                  <a:pt x="2876" y="2803"/>
                </a:lnTo>
                <a:lnTo>
                  <a:pt x="2804" y="2875"/>
                </a:lnTo>
                <a:lnTo>
                  <a:pt x="2726" y="2942"/>
                </a:lnTo>
                <a:lnTo>
                  <a:pt x="2646" y="3006"/>
                </a:lnTo>
                <a:lnTo>
                  <a:pt x="2561" y="3063"/>
                </a:lnTo>
                <a:lnTo>
                  <a:pt x="2474" y="3116"/>
                </a:lnTo>
                <a:lnTo>
                  <a:pt x="2382" y="3164"/>
                </a:lnTo>
                <a:lnTo>
                  <a:pt x="2287" y="3206"/>
                </a:lnTo>
                <a:lnTo>
                  <a:pt x="2190" y="3241"/>
                </a:lnTo>
                <a:lnTo>
                  <a:pt x="2089" y="3272"/>
                </a:lnTo>
                <a:lnTo>
                  <a:pt x="1986" y="3295"/>
                </a:lnTo>
                <a:lnTo>
                  <a:pt x="1880" y="3312"/>
                </a:lnTo>
                <a:lnTo>
                  <a:pt x="1773" y="3323"/>
                </a:lnTo>
                <a:lnTo>
                  <a:pt x="1664" y="3326"/>
                </a:lnTo>
                <a:lnTo>
                  <a:pt x="1554" y="3323"/>
                </a:lnTo>
                <a:lnTo>
                  <a:pt x="1446" y="3312"/>
                </a:lnTo>
                <a:lnTo>
                  <a:pt x="1341" y="3295"/>
                </a:lnTo>
                <a:lnTo>
                  <a:pt x="1238" y="3272"/>
                </a:lnTo>
                <a:lnTo>
                  <a:pt x="1137" y="3241"/>
                </a:lnTo>
                <a:lnTo>
                  <a:pt x="1040" y="3206"/>
                </a:lnTo>
                <a:lnTo>
                  <a:pt x="945" y="3164"/>
                </a:lnTo>
                <a:lnTo>
                  <a:pt x="854" y="3116"/>
                </a:lnTo>
                <a:lnTo>
                  <a:pt x="766" y="3063"/>
                </a:lnTo>
                <a:lnTo>
                  <a:pt x="681" y="3006"/>
                </a:lnTo>
                <a:lnTo>
                  <a:pt x="600" y="2942"/>
                </a:lnTo>
                <a:lnTo>
                  <a:pt x="524" y="2875"/>
                </a:lnTo>
                <a:lnTo>
                  <a:pt x="452" y="2803"/>
                </a:lnTo>
                <a:lnTo>
                  <a:pt x="384" y="2726"/>
                </a:lnTo>
                <a:lnTo>
                  <a:pt x="321" y="2645"/>
                </a:lnTo>
                <a:lnTo>
                  <a:pt x="263" y="2560"/>
                </a:lnTo>
                <a:lnTo>
                  <a:pt x="210" y="2473"/>
                </a:lnTo>
                <a:lnTo>
                  <a:pt x="163" y="2382"/>
                </a:lnTo>
                <a:lnTo>
                  <a:pt x="121" y="2286"/>
                </a:lnTo>
                <a:lnTo>
                  <a:pt x="85" y="2189"/>
                </a:lnTo>
                <a:lnTo>
                  <a:pt x="54" y="2088"/>
                </a:lnTo>
                <a:lnTo>
                  <a:pt x="32" y="1985"/>
                </a:lnTo>
                <a:lnTo>
                  <a:pt x="14" y="1880"/>
                </a:lnTo>
                <a:lnTo>
                  <a:pt x="3" y="1772"/>
                </a:lnTo>
                <a:lnTo>
                  <a:pt x="0" y="1664"/>
                </a:lnTo>
                <a:lnTo>
                  <a:pt x="3" y="1554"/>
                </a:lnTo>
                <a:lnTo>
                  <a:pt x="14" y="1446"/>
                </a:lnTo>
                <a:lnTo>
                  <a:pt x="32" y="1341"/>
                </a:lnTo>
                <a:lnTo>
                  <a:pt x="54" y="1238"/>
                </a:lnTo>
                <a:lnTo>
                  <a:pt x="85" y="1137"/>
                </a:lnTo>
                <a:lnTo>
                  <a:pt x="121" y="1040"/>
                </a:lnTo>
                <a:lnTo>
                  <a:pt x="163" y="946"/>
                </a:lnTo>
                <a:lnTo>
                  <a:pt x="210" y="854"/>
                </a:lnTo>
                <a:lnTo>
                  <a:pt x="263" y="765"/>
                </a:lnTo>
                <a:lnTo>
                  <a:pt x="321" y="681"/>
                </a:lnTo>
                <a:lnTo>
                  <a:pt x="384" y="600"/>
                </a:lnTo>
                <a:lnTo>
                  <a:pt x="452" y="524"/>
                </a:lnTo>
                <a:lnTo>
                  <a:pt x="524" y="452"/>
                </a:lnTo>
                <a:lnTo>
                  <a:pt x="600" y="384"/>
                </a:lnTo>
                <a:lnTo>
                  <a:pt x="681" y="320"/>
                </a:lnTo>
                <a:lnTo>
                  <a:pt x="766" y="263"/>
                </a:lnTo>
                <a:lnTo>
                  <a:pt x="854" y="211"/>
                </a:lnTo>
                <a:lnTo>
                  <a:pt x="945" y="163"/>
                </a:lnTo>
                <a:lnTo>
                  <a:pt x="1040" y="121"/>
                </a:lnTo>
                <a:lnTo>
                  <a:pt x="1137" y="85"/>
                </a:lnTo>
                <a:lnTo>
                  <a:pt x="1238" y="54"/>
                </a:lnTo>
                <a:lnTo>
                  <a:pt x="1341" y="32"/>
                </a:lnTo>
                <a:lnTo>
                  <a:pt x="1446" y="13"/>
                </a:lnTo>
                <a:lnTo>
                  <a:pt x="1554" y="3"/>
                </a:lnTo>
                <a:lnTo>
                  <a:pt x="1664" y="0"/>
                </a:lnTo>
                <a:close/>
              </a:path>
            </a:pathLst>
          </a:custGeom>
          <a:solidFill>
            <a:srgbClr val="D13139"/>
          </a:solidFill>
          <a:ln w="19050">
            <a:solidFill>
              <a:srgbClr val="D1323A"/>
            </a:solidFill>
            <a:prstDash val="solid"/>
            <a:round/>
            <a:headEnd/>
            <a:tailEnd/>
          </a:ln>
        </p:spPr>
        <p:txBody>
          <a:bodyPr vert="horz" wrap="square" lIns="84406" tIns="42203" rIns="84406" bIns="42203" numCol="1" anchor="t" anchorCtr="0" compatLnSpc="1">
            <a:prstTxWarp prst="textNoShape">
              <a:avLst/>
            </a:prstTxWarp>
          </a:bodyPr>
          <a:lstStyle/>
          <a:p>
            <a:endParaRPr lang="en-GB" sz="1662" dirty="0"/>
          </a:p>
        </p:txBody>
      </p:sp>
      <p:sp>
        <p:nvSpPr>
          <p:cNvPr id="16" name="Freeform 15"/>
          <p:cNvSpPr>
            <a:spLocks/>
          </p:cNvSpPr>
          <p:nvPr userDrawn="1"/>
        </p:nvSpPr>
        <p:spPr bwMode="auto">
          <a:xfrm>
            <a:off x="8641262" y="479716"/>
            <a:ext cx="73338" cy="79450"/>
          </a:xfrm>
          <a:custGeom>
            <a:avLst/>
            <a:gdLst>
              <a:gd name="T0" fmla="*/ 161 w 320"/>
              <a:gd name="T1" fmla="*/ 0 h 321"/>
              <a:gd name="T2" fmla="*/ 192 w 320"/>
              <a:gd name="T3" fmla="*/ 4 h 321"/>
              <a:gd name="T4" fmla="*/ 223 w 320"/>
              <a:gd name="T5" fmla="*/ 13 h 321"/>
              <a:gd name="T6" fmla="*/ 250 w 320"/>
              <a:gd name="T7" fmla="*/ 27 h 321"/>
              <a:gd name="T8" fmla="*/ 274 w 320"/>
              <a:gd name="T9" fmla="*/ 48 h 321"/>
              <a:gd name="T10" fmla="*/ 293 w 320"/>
              <a:gd name="T11" fmla="*/ 71 h 321"/>
              <a:gd name="T12" fmla="*/ 308 w 320"/>
              <a:gd name="T13" fmla="*/ 99 h 321"/>
              <a:gd name="T14" fmla="*/ 317 w 320"/>
              <a:gd name="T15" fmla="*/ 128 h 321"/>
              <a:gd name="T16" fmla="*/ 320 w 320"/>
              <a:gd name="T17" fmla="*/ 161 h 321"/>
              <a:gd name="T18" fmla="*/ 317 w 320"/>
              <a:gd name="T19" fmla="*/ 193 h 321"/>
              <a:gd name="T20" fmla="*/ 308 w 320"/>
              <a:gd name="T21" fmla="*/ 223 h 321"/>
              <a:gd name="T22" fmla="*/ 293 w 320"/>
              <a:gd name="T23" fmla="*/ 250 h 321"/>
              <a:gd name="T24" fmla="*/ 274 w 320"/>
              <a:gd name="T25" fmla="*/ 274 h 321"/>
              <a:gd name="T26" fmla="*/ 250 w 320"/>
              <a:gd name="T27" fmla="*/ 293 h 321"/>
              <a:gd name="T28" fmla="*/ 223 w 320"/>
              <a:gd name="T29" fmla="*/ 308 h 321"/>
              <a:gd name="T30" fmla="*/ 192 w 320"/>
              <a:gd name="T31" fmla="*/ 317 h 321"/>
              <a:gd name="T32" fmla="*/ 161 w 320"/>
              <a:gd name="T33" fmla="*/ 321 h 321"/>
              <a:gd name="T34" fmla="*/ 128 w 320"/>
              <a:gd name="T35" fmla="*/ 317 h 321"/>
              <a:gd name="T36" fmla="*/ 98 w 320"/>
              <a:gd name="T37" fmla="*/ 308 h 321"/>
              <a:gd name="T38" fmla="*/ 70 w 320"/>
              <a:gd name="T39" fmla="*/ 293 h 321"/>
              <a:gd name="T40" fmla="*/ 47 w 320"/>
              <a:gd name="T41" fmla="*/ 274 h 321"/>
              <a:gd name="T42" fmla="*/ 27 w 320"/>
              <a:gd name="T43" fmla="*/ 250 h 321"/>
              <a:gd name="T44" fmla="*/ 12 w 320"/>
              <a:gd name="T45" fmla="*/ 223 h 321"/>
              <a:gd name="T46" fmla="*/ 3 w 320"/>
              <a:gd name="T47" fmla="*/ 193 h 321"/>
              <a:gd name="T48" fmla="*/ 0 w 320"/>
              <a:gd name="T49" fmla="*/ 161 h 321"/>
              <a:gd name="T50" fmla="*/ 3 w 320"/>
              <a:gd name="T51" fmla="*/ 128 h 321"/>
              <a:gd name="T52" fmla="*/ 12 w 320"/>
              <a:gd name="T53" fmla="*/ 99 h 321"/>
              <a:gd name="T54" fmla="*/ 27 w 320"/>
              <a:gd name="T55" fmla="*/ 71 h 321"/>
              <a:gd name="T56" fmla="*/ 47 w 320"/>
              <a:gd name="T57" fmla="*/ 48 h 321"/>
              <a:gd name="T58" fmla="*/ 70 w 320"/>
              <a:gd name="T59" fmla="*/ 27 h 321"/>
              <a:gd name="T60" fmla="*/ 98 w 320"/>
              <a:gd name="T61" fmla="*/ 13 h 321"/>
              <a:gd name="T62" fmla="*/ 128 w 320"/>
              <a:gd name="T63" fmla="*/ 4 h 321"/>
              <a:gd name="T64" fmla="*/ 161 w 320"/>
              <a:gd name="T65" fmla="*/ 0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20" h="321">
                <a:moveTo>
                  <a:pt x="161" y="0"/>
                </a:moveTo>
                <a:lnTo>
                  <a:pt x="192" y="4"/>
                </a:lnTo>
                <a:lnTo>
                  <a:pt x="223" y="13"/>
                </a:lnTo>
                <a:lnTo>
                  <a:pt x="250" y="27"/>
                </a:lnTo>
                <a:lnTo>
                  <a:pt x="274" y="48"/>
                </a:lnTo>
                <a:lnTo>
                  <a:pt x="293" y="71"/>
                </a:lnTo>
                <a:lnTo>
                  <a:pt x="308" y="99"/>
                </a:lnTo>
                <a:lnTo>
                  <a:pt x="317" y="128"/>
                </a:lnTo>
                <a:lnTo>
                  <a:pt x="320" y="161"/>
                </a:lnTo>
                <a:lnTo>
                  <a:pt x="317" y="193"/>
                </a:lnTo>
                <a:lnTo>
                  <a:pt x="308" y="223"/>
                </a:lnTo>
                <a:lnTo>
                  <a:pt x="293" y="250"/>
                </a:lnTo>
                <a:lnTo>
                  <a:pt x="274" y="274"/>
                </a:lnTo>
                <a:lnTo>
                  <a:pt x="250" y="293"/>
                </a:lnTo>
                <a:lnTo>
                  <a:pt x="223" y="308"/>
                </a:lnTo>
                <a:lnTo>
                  <a:pt x="192" y="317"/>
                </a:lnTo>
                <a:lnTo>
                  <a:pt x="161" y="321"/>
                </a:lnTo>
                <a:lnTo>
                  <a:pt x="128" y="317"/>
                </a:lnTo>
                <a:lnTo>
                  <a:pt x="98" y="308"/>
                </a:lnTo>
                <a:lnTo>
                  <a:pt x="70" y="293"/>
                </a:lnTo>
                <a:lnTo>
                  <a:pt x="47" y="274"/>
                </a:lnTo>
                <a:lnTo>
                  <a:pt x="27" y="250"/>
                </a:lnTo>
                <a:lnTo>
                  <a:pt x="12" y="223"/>
                </a:lnTo>
                <a:lnTo>
                  <a:pt x="3" y="193"/>
                </a:lnTo>
                <a:lnTo>
                  <a:pt x="0" y="161"/>
                </a:lnTo>
                <a:lnTo>
                  <a:pt x="3" y="128"/>
                </a:lnTo>
                <a:lnTo>
                  <a:pt x="12" y="99"/>
                </a:lnTo>
                <a:lnTo>
                  <a:pt x="27" y="71"/>
                </a:lnTo>
                <a:lnTo>
                  <a:pt x="47" y="48"/>
                </a:lnTo>
                <a:lnTo>
                  <a:pt x="70" y="27"/>
                </a:lnTo>
                <a:lnTo>
                  <a:pt x="98" y="13"/>
                </a:lnTo>
                <a:lnTo>
                  <a:pt x="128" y="4"/>
                </a:lnTo>
                <a:lnTo>
                  <a:pt x="161" y="0"/>
                </a:lnTo>
                <a:close/>
              </a:path>
            </a:pathLst>
          </a:custGeom>
          <a:solidFill>
            <a:srgbClr val="9AB0C5"/>
          </a:solidFill>
          <a:ln w="12700">
            <a:solidFill>
              <a:srgbClr val="9AB1C5"/>
            </a:solidFill>
            <a:prstDash val="solid"/>
            <a:round/>
            <a:headEnd/>
            <a:tailEnd/>
          </a:ln>
        </p:spPr>
        <p:txBody>
          <a:bodyPr vert="horz" wrap="square" lIns="84406" tIns="42203" rIns="84406" bIns="42203" numCol="1" anchor="t" anchorCtr="0" compatLnSpc="1">
            <a:prstTxWarp prst="textNoShape">
              <a:avLst/>
            </a:prstTxWarp>
          </a:bodyPr>
          <a:lstStyle/>
          <a:p>
            <a:endParaRPr lang="en-GB" sz="1662" dirty="0"/>
          </a:p>
        </p:txBody>
      </p:sp>
      <p:sp>
        <p:nvSpPr>
          <p:cNvPr id="17" name="Freeform 16"/>
          <p:cNvSpPr>
            <a:spLocks/>
          </p:cNvSpPr>
          <p:nvPr userDrawn="1"/>
        </p:nvSpPr>
        <p:spPr bwMode="auto">
          <a:xfrm>
            <a:off x="8459509" y="319091"/>
            <a:ext cx="181753" cy="196899"/>
          </a:xfrm>
          <a:custGeom>
            <a:avLst/>
            <a:gdLst>
              <a:gd name="T0" fmla="*/ 398 w 797"/>
              <a:gd name="T1" fmla="*/ 0 h 796"/>
              <a:gd name="T2" fmla="*/ 448 w 797"/>
              <a:gd name="T3" fmla="*/ 2 h 796"/>
              <a:gd name="T4" fmla="*/ 497 w 797"/>
              <a:gd name="T5" fmla="*/ 11 h 796"/>
              <a:gd name="T6" fmla="*/ 542 w 797"/>
              <a:gd name="T7" fmla="*/ 26 h 796"/>
              <a:gd name="T8" fmla="*/ 585 w 797"/>
              <a:gd name="T9" fmla="*/ 46 h 796"/>
              <a:gd name="T10" fmla="*/ 626 w 797"/>
              <a:gd name="T11" fmla="*/ 71 h 796"/>
              <a:gd name="T12" fmla="*/ 663 w 797"/>
              <a:gd name="T13" fmla="*/ 99 h 796"/>
              <a:gd name="T14" fmla="*/ 696 w 797"/>
              <a:gd name="T15" fmla="*/ 133 h 796"/>
              <a:gd name="T16" fmla="*/ 726 w 797"/>
              <a:gd name="T17" fmla="*/ 170 h 796"/>
              <a:gd name="T18" fmla="*/ 749 w 797"/>
              <a:gd name="T19" fmla="*/ 210 h 796"/>
              <a:gd name="T20" fmla="*/ 770 w 797"/>
              <a:gd name="T21" fmla="*/ 253 h 796"/>
              <a:gd name="T22" fmla="*/ 785 w 797"/>
              <a:gd name="T23" fmla="*/ 300 h 796"/>
              <a:gd name="T24" fmla="*/ 794 w 797"/>
              <a:gd name="T25" fmla="*/ 347 h 796"/>
              <a:gd name="T26" fmla="*/ 797 w 797"/>
              <a:gd name="T27" fmla="*/ 397 h 796"/>
              <a:gd name="T28" fmla="*/ 794 w 797"/>
              <a:gd name="T29" fmla="*/ 448 h 796"/>
              <a:gd name="T30" fmla="*/ 785 w 797"/>
              <a:gd name="T31" fmla="*/ 496 h 796"/>
              <a:gd name="T32" fmla="*/ 770 w 797"/>
              <a:gd name="T33" fmla="*/ 542 h 796"/>
              <a:gd name="T34" fmla="*/ 749 w 797"/>
              <a:gd name="T35" fmla="*/ 585 h 796"/>
              <a:gd name="T36" fmla="*/ 726 w 797"/>
              <a:gd name="T37" fmla="*/ 625 h 796"/>
              <a:gd name="T38" fmla="*/ 696 w 797"/>
              <a:gd name="T39" fmla="*/ 662 h 796"/>
              <a:gd name="T40" fmla="*/ 663 w 797"/>
              <a:gd name="T41" fmla="*/ 695 h 796"/>
              <a:gd name="T42" fmla="*/ 626 w 797"/>
              <a:gd name="T43" fmla="*/ 725 h 796"/>
              <a:gd name="T44" fmla="*/ 585 w 797"/>
              <a:gd name="T45" fmla="*/ 750 h 796"/>
              <a:gd name="T46" fmla="*/ 542 w 797"/>
              <a:gd name="T47" fmla="*/ 770 h 796"/>
              <a:gd name="T48" fmla="*/ 497 w 797"/>
              <a:gd name="T49" fmla="*/ 783 h 796"/>
              <a:gd name="T50" fmla="*/ 448 w 797"/>
              <a:gd name="T51" fmla="*/ 793 h 796"/>
              <a:gd name="T52" fmla="*/ 398 w 797"/>
              <a:gd name="T53" fmla="*/ 796 h 796"/>
              <a:gd name="T54" fmla="*/ 348 w 797"/>
              <a:gd name="T55" fmla="*/ 793 h 796"/>
              <a:gd name="T56" fmla="*/ 300 w 797"/>
              <a:gd name="T57" fmla="*/ 783 h 796"/>
              <a:gd name="T58" fmla="*/ 254 w 797"/>
              <a:gd name="T59" fmla="*/ 770 h 796"/>
              <a:gd name="T60" fmla="*/ 211 w 797"/>
              <a:gd name="T61" fmla="*/ 750 h 796"/>
              <a:gd name="T62" fmla="*/ 171 w 797"/>
              <a:gd name="T63" fmla="*/ 725 h 796"/>
              <a:gd name="T64" fmla="*/ 133 w 797"/>
              <a:gd name="T65" fmla="*/ 695 h 796"/>
              <a:gd name="T66" fmla="*/ 100 w 797"/>
              <a:gd name="T67" fmla="*/ 662 h 796"/>
              <a:gd name="T68" fmla="*/ 71 w 797"/>
              <a:gd name="T69" fmla="*/ 625 h 796"/>
              <a:gd name="T70" fmla="*/ 46 w 797"/>
              <a:gd name="T71" fmla="*/ 585 h 796"/>
              <a:gd name="T72" fmla="*/ 27 w 797"/>
              <a:gd name="T73" fmla="*/ 542 h 796"/>
              <a:gd name="T74" fmla="*/ 12 w 797"/>
              <a:gd name="T75" fmla="*/ 496 h 796"/>
              <a:gd name="T76" fmla="*/ 3 w 797"/>
              <a:gd name="T77" fmla="*/ 448 h 796"/>
              <a:gd name="T78" fmla="*/ 0 w 797"/>
              <a:gd name="T79" fmla="*/ 397 h 796"/>
              <a:gd name="T80" fmla="*/ 3 w 797"/>
              <a:gd name="T81" fmla="*/ 347 h 796"/>
              <a:gd name="T82" fmla="*/ 12 w 797"/>
              <a:gd name="T83" fmla="*/ 300 h 796"/>
              <a:gd name="T84" fmla="*/ 27 w 797"/>
              <a:gd name="T85" fmla="*/ 253 h 796"/>
              <a:gd name="T86" fmla="*/ 46 w 797"/>
              <a:gd name="T87" fmla="*/ 210 h 796"/>
              <a:gd name="T88" fmla="*/ 71 w 797"/>
              <a:gd name="T89" fmla="*/ 170 h 796"/>
              <a:gd name="T90" fmla="*/ 100 w 797"/>
              <a:gd name="T91" fmla="*/ 133 h 796"/>
              <a:gd name="T92" fmla="*/ 133 w 797"/>
              <a:gd name="T93" fmla="*/ 99 h 796"/>
              <a:gd name="T94" fmla="*/ 171 w 797"/>
              <a:gd name="T95" fmla="*/ 71 h 796"/>
              <a:gd name="T96" fmla="*/ 211 w 797"/>
              <a:gd name="T97" fmla="*/ 46 h 796"/>
              <a:gd name="T98" fmla="*/ 254 w 797"/>
              <a:gd name="T99" fmla="*/ 26 h 796"/>
              <a:gd name="T100" fmla="*/ 300 w 797"/>
              <a:gd name="T101" fmla="*/ 11 h 796"/>
              <a:gd name="T102" fmla="*/ 348 w 797"/>
              <a:gd name="T103" fmla="*/ 2 h 796"/>
              <a:gd name="T104" fmla="*/ 398 w 797"/>
              <a:gd name="T105" fmla="*/ 0 h 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797" h="796">
                <a:moveTo>
                  <a:pt x="398" y="0"/>
                </a:moveTo>
                <a:lnTo>
                  <a:pt x="448" y="2"/>
                </a:lnTo>
                <a:lnTo>
                  <a:pt x="497" y="11"/>
                </a:lnTo>
                <a:lnTo>
                  <a:pt x="542" y="26"/>
                </a:lnTo>
                <a:lnTo>
                  <a:pt x="585" y="46"/>
                </a:lnTo>
                <a:lnTo>
                  <a:pt x="626" y="71"/>
                </a:lnTo>
                <a:lnTo>
                  <a:pt x="663" y="99"/>
                </a:lnTo>
                <a:lnTo>
                  <a:pt x="696" y="133"/>
                </a:lnTo>
                <a:lnTo>
                  <a:pt x="726" y="170"/>
                </a:lnTo>
                <a:lnTo>
                  <a:pt x="749" y="210"/>
                </a:lnTo>
                <a:lnTo>
                  <a:pt x="770" y="253"/>
                </a:lnTo>
                <a:lnTo>
                  <a:pt x="785" y="300"/>
                </a:lnTo>
                <a:lnTo>
                  <a:pt x="794" y="347"/>
                </a:lnTo>
                <a:lnTo>
                  <a:pt x="797" y="397"/>
                </a:lnTo>
                <a:lnTo>
                  <a:pt x="794" y="448"/>
                </a:lnTo>
                <a:lnTo>
                  <a:pt x="785" y="496"/>
                </a:lnTo>
                <a:lnTo>
                  <a:pt x="770" y="542"/>
                </a:lnTo>
                <a:lnTo>
                  <a:pt x="749" y="585"/>
                </a:lnTo>
                <a:lnTo>
                  <a:pt x="726" y="625"/>
                </a:lnTo>
                <a:lnTo>
                  <a:pt x="696" y="662"/>
                </a:lnTo>
                <a:lnTo>
                  <a:pt x="663" y="695"/>
                </a:lnTo>
                <a:lnTo>
                  <a:pt x="626" y="725"/>
                </a:lnTo>
                <a:lnTo>
                  <a:pt x="585" y="750"/>
                </a:lnTo>
                <a:lnTo>
                  <a:pt x="542" y="770"/>
                </a:lnTo>
                <a:lnTo>
                  <a:pt x="497" y="783"/>
                </a:lnTo>
                <a:lnTo>
                  <a:pt x="448" y="793"/>
                </a:lnTo>
                <a:lnTo>
                  <a:pt x="398" y="796"/>
                </a:lnTo>
                <a:lnTo>
                  <a:pt x="348" y="793"/>
                </a:lnTo>
                <a:lnTo>
                  <a:pt x="300" y="783"/>
                </a:lnTo>
                <a:lnTo>
                  <a:pt x="254" y="770"/>
                </a:lnTo>
                <a:lnTo>
                  <a:pt x="211" y="750"/>
                </a:lnTo>
                <a:lnTo>
                  <a:pt x="171" y="725"/>
                </a:lnTo>
                <a:lnTo>
                  <a:pt x="133" y="695"/>
                </a:lnTo>
                <a:lnTo>
                  <a:pt x="100" y="662"/>
                </a:lnTo>
                <a:lnTo>
                  <a:pt x="71" y="625"/>
                </a:lnTo>
                <a:lnTo>
                  <a:pt x="46" y="585"/>
                </a:lnTo>
                <a:lnTo>
                  <a:pt x="27" y="542"/>
                </a:lnTo>
                <a:lnTo>
                  <a:pt x="12" y="496"/>
                </a:lnTo>
                <a:lnTo>
                  <a:pt x="3" y="448"/>
                </a:lnTo>
                <a:lnTo>
                  <a:pt x="0" y="397"/>
                </a:lnTo>
                <a:lnTo>
                  <a:pt x="3" y="347"/>
                </a:lnTo>
                <a:lnTo>
                  <a:pt x="12" y="300"/>
                </a:lnTo>
                <a:lnTo>
                  <a:pt x="27" y="253"/>
                </a:lnTo>
                <a:lnTo>
                  <a:pt x="46" y="210"/>
                </a:lnTo>
                <a:lnTo>
                  <a:pt x="71" y="170"/>
                </a:lnTo>
                <a:lnTo>
                  <a:pt x="100" y="133"/>
                </a:lnTo>
                <a:lnTo>
                  <a:pt x="133" y="99"/>
                </a:lnTo>
                <a:lnTo>
                  <a:pt x="171" y="71"/>
                </a:lnTo>
                <a:lnTo>
                  <a:pt x="211" y="46"/>
                </a:lnTo>
                <a:lnTo>
                  <a:pt x="254" y="26"/>
                </a:lnTo>
                <a:lnTo>
                  <a:pt x="300" y="11"/>
                </a:lnTo>
                <a:lnTo>
                  <a:pt x="348" y="2"/>
                </a:lnTo>
                <a:lnTo>
                  <a:pt x="398" y="0"/>
                </a:lnTo>
                <a:close/>
              </a:path>
            </a:pathLst>
          </a:custGeom>
          <a:solidFill>
            <a:srgbClr val="293946"/>
          </a:solidFill>
          <a:ln w="12700">
            <a:solidFill>
              <a:srgbClr val="293947"/>
            </a:solidFill>
            <a:prstDash val="solid"/>
            <a:round/>
            <a:headEnd/>
            <a:tailEnd/>
          </a:ln>
        </p:spPr>
        <p:txBody>
          <a:bodyPr vert="horz" wrap="square" lIns="84406" tIns="42203" rIns="84406" bIns="42203" numCol="1" anchor="t" anchorCtr="0" compatLnSpc="1">
            <a:prstTxWarp prst="textNoShape">
              <a:avLst/>
            </a:prstTxWarp>
          </a:bodyPr>
          <a:lstStyle/>
          <a:p>
            <a:endParaRPr lang="en-GB" sz="1662" dirty="0"/>
          </a:p>
        </p:txBody>
      </p:sp>
      <p:sp>
        <p:nvSpPr>
          <p:cNvPr id="18" name="Freeform 17"/>
          <p:cNvSpPr>
            <a:spLocks/>
          </p:cNvSpPr>
          <p:nvPr userDrawn="1"/>
        </p:nvSpPr>
        <p:spPr bwMode="auto">
          <a:xfrm>
            <a:off x="8555170" y="571256"/>
            <a:ext cx="111603" cy="119176"/>
          </a:xfrm>
          <a:custGeom>
            <a:avLst/>
            <a:gdLst>
              <a:gd name="T0" fmla="*/ 242 w 485"/>
              <a:gd name="T1" fmla="*/ 0 h 484"/>
              <a:gd name="T2" fmla="*/ 282 w 485"/>
              <a:gd name="T3" fmla="*/ 2 h 484"/>
              <a:gd name="T4" fmla="*/ 319 w 485"/>
              <a:gd name="T5" fmla="*/ 11 h 484"/>
              <a:gd name="T6" fmla="*/ 353 w 485"/>
              <a:gd name="T7" fmla="*/ 26 h 484"/>
              <a:gd name="T8" fmla="*/ 386 w 485"/>
              <a:gd name="T9" fmla="*/ 46 h 484"/>
              <a:gd name="T10" fmla="*/ 414 w 485"/>
              <a:gd name="T11" fmla="*/ 70 h 484"/>
              <a:gd name="T12" fmla="*/ 438 w 485"/>
              <a:gd name="T13" fmla="*/ 98 h 484"/>
              <a:gd name="T14" fmla="*/ 457 w 485"/>
              <a:gd name="T15" fmla="*/ 130 h 484"/>
              <a:gd name="T16" fmla="*/ 472 w 485"/>
              <a:gd name="T17" fmla="*/ 165 h 484"/>
              <a:gd name="T18" fmla="*/ 481 w 485"/>
              <a:gd name="T19" fmla="*/ 202 h 484"/>
              <a:gd name="T20" fmla="*/ 485 w 485"/>
              <a:gd name="T21" fmla="*/ 242 h 484"/>
              <a:gd name="T22" fmla="*/ 481 w 485"/>
              <a:gd name="T23" fmla="*/ 282 h 484"/>
              <a:gd name="T24" fmla="*/ 472 w 485"/>
              <a:gd name="T25" fmla="*/ 319 h 484"/>
              <a:gd name="T26" fmla="*/ 457 w 485"/>
              <a:gd name="T27" fmla="*/ 353 h 484"/>
              <a:gd name="T28" fmla="*/ 438 w 485"/>
              <a:gd name="T29" fmla="*/ 385 h 484"/>
              <a:gd name="T30" fmla="*/ 414 w 485"/>
              <a:gd name="T31" fmla="*/ 413 h 484"/>
              <a:gd name="T32" fmla="*/ 386 w 485"/>
              <a:gd name="T33" fmla="*/ 438 h 484"/>
              <a:gd name="T34" fmla="*/ 353 w 485"/>
              <a:gd name="T35" fmla="*/ 457 h 484"/>
              <a:gd name="T36" fmla="*/ 319 w 485"/>
              <a:gd name="T37" fmla="*/ 472 h 484"/>
              <a:gd name="T38" fmla="*/ 282 w 485"/>
              <a:gd name="T39" fmla="*/ 481 h 484"/>
              <a:gd name="T40" fmla="*/ 242 w 485"/>
              <a:gd name="T41" fmla="*/ 484 h 484"/>
              <a:gd name="T42" fmla="*/ 202 w 485"/>
              <a:gd name="T43" fmla="*/ 481 h 484"/>
              <a:gd name="T44" fmla="*/ 165 w 485"/>
              <a:gd name="T45" fmla="*/ 472 h 484"/>
              <a:gd name="T46" fmla="*/ 130 w 485"/>
              <a:gd name="T47" fmla="*/ 457 h 484"/>
              <a:gd name="T48" fmla="*/ 98 w 485"/>
              <a:gd name="T49" fmla="*/ 438 h 484"/>
              <a:gd name="T50" fmla="*/ 70 w 485"/>
              <a:gd name="T51" fmla="*/ 413 h 484"/>
              <a:gd name="T52" fmla="*/ 46 w 485"/>
              <a:gd name="T53" fmla="*/ 385 h 484"/>
              <a:gd name="T54" fmla="*/ 27 w 485"/>
              <a:gd name="T55" fmla="*/ 353 h 484"/>
              <a:gd name="T56" fmla="*/ 12 w 485"/>
              <a:gd name="T57" fmla="*/ 319 h 484"/>
              <a:gd name="T58" fmla="*/ 2 w 485"/>
              <a:gd name="T59" fmla="*/ 282 h 484"/>
              <a:gd name="T60" fmla="*/ 0 w 485"/>
              <a:gd name="T61" fmla="*/ 242 h 484"/>
              <a:gd name="T62" fmla="*/ 2 w 485"/>
              <a:gd name="T63" fmla="*/ 202 h 484"/>
              <a:gd name="T64" fmla="*/ 12 w 485"/>
              <a:gd name="T65" fmla="*/ 165 h 484"/>
              <a:gd name="T66" fmla="*/ 27 w 485"/>
              <a:gd name="T67" fmla="*/ 130 h 484"/>
              <a:gd name="T68" fmla="*/ 46 w 485"/>
              <a:gd name="T69" fmla="*/ 98 h 484"/>
              <a:gd name="T70" fmla="*/ 70 w 485"/>
              <a:gd name="T71" fmla="*/ 70 h 484"/>
              <a:gd name="T72" fmla="*/ 98 w 485"/>
              <a:gd name="T73" fmla="*/ 46 h 484"/>
              <a:gd name="T74" fmla="*/ 130 w 485"/>
              <a:gd name="T75" fmla="*/ 26 h 484"/>
              <a:gd name="T76" fmla="*/ 165 w 485"/>
              <a:gd name="T77" fmla="*/ 11 h 484"/>
              <a:gd name="T78" fmla="*/ 202 w 485"/>
              <a:gd name="T79" fmla="*/ 2 h 484"/>
              <a:gd name="T80" fmla="*/ 242 w 485"/>
              <a:gd name="T81" fmla="*/ 0 h 4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485" h="484">
                <a:moveTo>
                  <a:pt x="242" y="0"/>
                </a:moveTo>
                <a:lnTo>
                  <a:pt x="282" y="2"/>
                </a:lnTo>
                <a:lnTo>
                  <a:pt x="319" y="11"/>
                </a:lnTo>
                <a:lnTo>
                  <a:pt x="353" y="26"/>
                </a:lnTo>
                <a:lnTo>
                  <a:pt x="386" y="46"/>
                </a:lnTo>
                <a:lnTo>
                  <a:pt x="414" y="70"/>
                </a:lnTo>
                <a:lnTo>
                  <a:pt x="438" y="98"/>
                </a:lnTo>
                <a:lnTo>
                  <a:pt x="457" y="130"/>
                </a:lnTo>
                <a:lnTo>
                  <a:pt x="472" y="165"/>
                </a:lnTo>
                <a:lnTo>
                  <a:pt x="481" y="202"/>
                </a:lnTo>
                <a:lnTo>
                  <a:pt x="485" y="242"/>
                </a:lnTo>
                <a:lnTo>
                  <a:pt x="481" y="282"/>
                </a:lnTo>
                <a:lnTo>
                  <a:pt x="472" y="319"/>
                </a:lnTo>
                <a:lnTo>
                  <a:pt x="457" y="353"/>
                </a:lnTo>
                <a:lnTo>
                  <a:pt x="438" y="385"/>
                </a:lnTo>
                <a:lnTo>
                  <a:pt x="414" y="413"/>
                </a:lnTo>
                <a:lnTo>
                  <a:pt x="386" y="438"/>
                </a:lnTo>
                <a:lnTo>
                  <a:pt x="353" y="457"/>
                </a:lnTo>
                <a:lnTo>
                  <a:pt x="319" y="472"/>
                </a:lnTo>
                <a:lnTo>
                  <a:pt x="282" y="481"/>
                </a:lnTo>
                <a:lnTo>
                  <a:pt x="242" y="484"/>
                </a:lnTo>
                <a:lnTo>
                  <a:pt x="202" y="481"/>
                </a:lnTo>
                <a:lnTo>
                  <a:pt x="165" y="472"/>
                </a:lnTo>
                <a:lnTo>
                  <a:pt x="130" y="457"/>
                </a:lnTo>
                <a:lnTo>
                  <a:pt x="98" y="438"/>
                </a:lnTo>
                <a:lnTo>
                  <a:pt x="70" y="413"/>
                </a:lnTo>
                <a:lnTo>
                  <a:pt x="46" y="385"/>
                </a:lnTo>
                <a:lnTo>
                  <a:pt x="27" y="353"/>
                </a:lnTo>
                <a:lnTo>
                  <a:pt x="12" y="319"/>
                </a:lnTo>
                <a:lnTo>
                  <a:pt x="2" y="282"/>
                </a:lnTo>
                <a:lnTo>
                  <a:pt x="0" y="242"/>
                </a:lnTo>
                <a:lnTo>
                  <a:pt x="2" y="202"/>
                </a:lnTo>
                <a:lnTo>
                  <a:pt x="12" y="165"/>
                </a:lnTo>
                <a:lnTo>
                  <a:pt x="27" y="130"/>
                </a:lnTo>
                <a:lnTo>
                  <a:pt x="46" y="98"/>
                </a:lnTo>
                <a:lnTo>
                  <a:pt x="70" y="70"/>
                </a:lnTo>
                <a:lnTo>
                  <a:pt x="98" y="46"/>
                </a:lnTo>
                <a:lnTo>
                  <a:pt x="130" y="26"/>
                </a:lnTo>
                <a:lnTo>
                  <a:pt x="165" y="11"/>
                </a:lnTo>
                <a:lnTo>
                  <a:pt x="202" y="2"/>
                </a:lnTo>
                <a:lnTo>
                  <a:pt x="242" y="0"/>
                </a:lnTo>
                <a:close/>
              </a:path>
            </a:pathLst>
          </a:custGeom>
          <a:solidFill>
            <a:srgbClr val="5E6F7C"/>
          </a:solidFill>
          <a:ln w="12700">
            <a:solidFill>
              <a:srgbClr val="5E707E"/>
            </a:solidFill>
            <a:prstDash val="solid"/>
            <a:round/>
            <a:headEnd/>
            <a:tailEnd/>
          </a:ln>
        </p:spPr>
        <p:txBody>
          <a:bodyPr vert="horz" wrap="square" lIns="84406" tIns="42203" rIns="84406" bIns="42203" numCol="1" anchor="t" anchorCtr="0" compatLnSpc="1">
            <a:prstTxWarp prst="textNoShape">
              <a:avLst/>
            </a:prstTxWarp>
          </a:bodyPr>
          <a:lstStyle/>
          <a:p>
            <a:endParaRPr lang="en-GB" sz="1662" dirty="0"/>
          </a:p>
        </p:txBody>
      </p:sp>
      <p:sp>
        <p:nvSpPr>
          <p:cNvPr id="19" name="Freeform 18"/>
          <p:cNvSpPr>
            <a:spLocks/>
          </p:cNvSpPr>
          <p:nvPr userDrawn="1"/>
        </p:nvSpPr>
        <p:spPr bwMode="auto">
          <a:xfrm>
            <a:off x="8206011" y="540170"/>
            <a:ext cx="328431" cy="390343"/>
          </a:xfrm>
          <a:custGeom>
            <a:avLst/>
            <a:gdLst>
              <a:gd name="T0" fmla="*/ 702 w 1440"/>
              <a:gd name="T1" fmla="*/ 3 h 1584"/>
              <a:gd name="T2" fmla="*/ 759 w 1440"/>
              <a:gd name="T3" fmla="*/ 23 h 1584"/>
              <a:gd name="T4" fmla="*/ 802 w 1440"/>
              <a:gd name="T5" fmla="*/ 60 h 1584"/>
              <a:gd name="T6" fmla="*/ 835 w 1440"/>
              <a:gd name="T7" fmla="*/ 113 h 1584"/>
              <a:gd name="T8" fmla="*/ 852 w 1440"/>
              <a:gd name="T9" fmla="*/ 148 h 1584"/>
              <a:gd name="T10" fmla="*/ 863 w 1440"/>
              <a:gd name="T11" fmla="*/ 177 h 1584"/>
              <a:gd name="T12" fmla="*/ 884 w 1440"/>
              <a:gd name="T13" fmla="*/ 227 h 1584"/>
              <a:gd name="T14" fmla="*/ 911 w 1440"/>
              <a:gd name="T15" fmla="*/ 294 h 1584"/>
              <a:gd name="T16" fmla="*/ 944 w 1440"/>
              <a:gd name="T17" fmla="*/ 374 h 1584"/>
              <a:gd name="T18" fmla="*/ 982 w 1440"/>
              <a:gd name="T19" fmla="*/ 468 h 1584"/>
              <a:gd name="T20" fmla="*/ 1024 w 1440"/>
              <a:gd name="T21" fmla="*/ 570 h 1584"/>
              <a:gd name="T22" fmla="*/ 1069 w 1440"/>
              <a:gd name="T23" fmla="*/ 680 h 1584"/>
              <a:gd name="T24" fmla="*/ 1116 w 1440"/>
              <a:gd name="T25" fmla="*/ 793 h 1584"/>
              <a:gd name="T26" fmla="*/ 1162 w 1440"/>
              <a:gd name="T27" fmla="*/ 908 h 1584"/>
              <a:gd name="T28" fmla="*/ 1210 w 1440"/>
              <a:gd name="T29" fmla="*/ 1022 h 1584"/>
              <a:gd name="T30" fmla="*/ 1255 w 1440"/>
              <a:gd name="T31" fmla="*/ 1133 h 1584"/>
              <a:gd name="T32" fmla="*/ 1297 w 1440"/>
              <a:gd name="T33" fmla="*/ 1236 h 1584"/>
              <a:gd name="T34" fmla="*/ 1337 w 1440"/>
              <a:gd name="T35" fmla="*/ 1332 h 1584"/>
              <a:gd name="T36" fmla="*/ 1371 w 1440"/>
              <a:gd name="T37" fmla="*/ 1416 h 1584"/>
              <a:gd name="T38" fmla="*/ 1399 w 1440"/>
              <a:gd name="T39" fmla="*/ 1485 h 1584"/>
              <a:gd name="T40" fmla="*/ 1422 w 1440"/>
              <a:gd name="T41" fmla="*/ 1538 h 1584"/>
              <a:gd name="T42" fmla="*/ 1435 w 1440"/>
              <a:gd name="T43" fmla="*/ 1572 h 1584"/>
              <a:gd name="T44" fmla="*/ 1440 w 1440"/>
              <a:gd name="T45" fmla="*/ 1584 h 1584"/>
              <a:gd name="T46" fmla="*/ 1097 w 1440"/>
              <a:gd name="T47" fmla="*/ 1583 h 1584"/>
              <a:gd name="T48" fmla="*/ 1064 w 1440"/>
              <a:gd name="T49" fmla="*/ 1575 h 1584"/>
              <a:gd name="T50" fmla="*/ 1043 w 1440"/>
              <a:gd name="T51" fmla="*/ 1551 h 1584"/>
              <a:gd name="T52" fmla="*/ 1033 w 1440"/>
              <a:gd name="T53" fmla="*/ 1529 h 1584"/>
              <a:gd name="T54" fmla="*/ 1024 w 1440"/>
              <a:gd name="T55" fmla="*/ 1508 h 1584"/>
              <a:gd name="T56" fmla="*/ 1009 w 1440"/>
              <a:gd name="T57" fmla="*/ 1472 h 1584"/>
              <a:gd name="T58" fmla="*/ 990 w 1440"/>
              <a:gd name="T59" fmla="*/ 1425 h 1584"/>
              <a:gd name="T60" fmla="*/ 969 w 1440"/>
              <a:gd name="T61" fmla="*/ 1374 h 1584"/>
              <a:gd name="T62" fmla="*/ 948 w 1440"/>
              <a:gd name="T63" fmla="*/ 1325 h 1584"/>
              <a:gd name="T64" fmla="*/ 931 w 1440"/>
              <a:gd name="T65" fmla="*/ 1282 h 1584"/>
              <a:gd name="T66" fmla="*/ 919 w 1440"/>
              <a:gd name="T67" fmla="*/ 1253 h 1584"/>
              <a:gd name="T68" fmla="*/ 914 w 1440"/>
              <a:gd name="T69" fmla="*/ 1243 h 1584"/>
              <a:gd name="T70" fmla="*/ 369 w 1440"/>
              <a:gd name="T71" fmla="*/ 1584 h 1584"/>
              <a:gd name="T72" fmla="*/ 6 w 1440"/>
              <a:gd name="T73" fmla="*/ 1570 h 1584"/>
              <a:gd name="T74" fmla="*/ 23 w 1440"/>
              <a:gd name="T75" fmla="*/ 1528 h 1584"/>
              <a:gd name="T76" fmla="*/ 48 w 1440"/>
              <a:gd name="T77" fmla="*/ 1472 h 1584"/>
              <a:gd name="T78" fmla="*/ 76 w 1440"/>
              <a:gd name="T79" fmla="*/ 1402 h 1584"/>
              <a:gd name="T80" fmla="*/ 108 w 1440"/>
              <a:gd name="T81" fmla="*/ 1328 h 1584"/>
              <a:gd name="T82" fmla="*/ 141 w 1440"/>
              <a:gd name="T83" fmla="*/ 1253 h 1584"/>
              <a:gd name="T84" fmla="*/ 170 w 1440"/>
              <a:gd name="T85" fmla="*/ 1182 h 1584"/>
              <a:gd name="T86" fmla="*/ 197 w 1440"/>
              <a:gd name="T87" fmla="*/ 1119 h 1584"/>
              <a:gd name="T88" fmla="*/ 219 w 1440"/>
              <a:gd name="T89" fmla="*/ 1071 h 1584"/>
              <a:gd name="T90" fmla="*/ 239 w 1440"/>
              <a:gd name="T91" fmla="*/ 1025 h 1584"/>
              <a:gd name="T92" fmla="*/ 265 w 1440"/>
              <a:gd name="T93" fmla="*/ 985 h 1584"/>
              <a:gd name="T94" fmla="*/ 296 w 1440"/>
              <a:gd name="T95" fmla="*/ 959 h 1584"/>
              <a:gd name="T96" fmla="*/ 339 w 1440"/>
              <a:gd name="T97" fmla="*/ 946 h 1584"/>
              <a:gd name="T98" fmla="*/ 400 w 1440"/>
              <a:gd name="T99" fmla="*/ 942 h 1584"/>
              <a:gd name="T100" fmla="*/ 752 w 1440"/>
              <a:gd name="T101" fmla="*/ 846 h 1584"/>
              <a:gd name="T102" fmla="*/ 681 w 1440"/>
              <a:gd name="T103" fmla="*/ 674 h 1584"/>
              <a:gd name="T104" fmla="*/ 620 w 1440"/>
              <a:gd name="T105" fmla="*/ 525 h 1584"/>
              <a:gd name="T106" fmla="*/ 568 w 1440"/>
              <a:gd name="T107" fmla="*/ 399 h 1584"/>
              <a:gd name="T108" fmla="*/ 525 w 1440"/>
              <a:gd name="T109" fmla="*/ 294 h 1584"/>
              <a:gd name="T110" fmla="*/ 503 w 1440"/>
              <a:gd name="T111" fmla="*/ 233 h 1584"/>
              <a:gd name="T112" fmla="*/ 493 w 1440"/>
              <a:gd name="T113" fmla="*/ 185 h 1584"/>
              <a:gd name="T114" fmla="*/ 494 w 1440"/>
              <a:gd name="T115" fmla="*/ 136 h 1584"/>
              <a:gd name="T116" fmla="*/ 514 w 1440"/>
              <a:gd name="T117" fmla="*/ 84 h 1584"/>
              <a:gd name="T118" fmla="*/ 552 w 1440"/>
              <a:gd name="T119" fmla="*/ 41 h 1584"/>
              <a:gd name="T120" fmla="*/ 606 w 1440"/>
              <a:gd name="T121" fmla="*/ 12 h 1584"/>
              <a:gd name="T122" fmla="*/ 672 w 1440"/>
              <a:gd name="T123" fmla="*/ 0 h 1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40" h="1584">
                <a:moveTo>
                  <a:pt x="672" y="0"/>
                </a:moveTo>
                <a:lnTo>
                  <a:pt x="702" y="3"/>
                </a:lnTo>
                <a:lnTo>
                  <a:pt x="732" y="11"/>
                </a:lnTo>
                <a:lnTo>
                  <a:pt x="759" y="23"/>
                </a:lnTo>
                <a:lnTo>
                  <a:pt x="784" y="41"/>
                </a:lnTo>
                <a:lnTo>
                  <a:pt x="802" y="60"/>
                </a:lnTo>
                <a:lnTo>
                  <a:pt x="820" y="85"/>
                </a:lnTo>
                <a:lnTo>
                  <a:pt x="835" y="113"/>
                </a:lnTo>
                <a:lnTo>
                  <a:pt x="849" y="142"/>
                </a:lnTo>
                <a:lnTo>
                  <a:pt x="852" y="148"/>
                </a:lnTo>
                <a:lnTo>
                  <a:pt x="856" y="160"/>
                </a:lnTo>
                <a:lnTo>
                  <a:pt x="863" y="177"/>
                </a:lnTo>
                <a:lnTo>
                  <a:pt x="872" y="200"/>
                </a:lnTo>
                <a:lnTo>
                  <a:pt x="884" y="227"/>
                </a:lnTo>
                <a:lnTo>
                  <a:pt x="896" y="259"/>
                </a:lnTo>
                <a:lnTo>
                  <a:pt x="911" y="294"/>
                </a:lnTo>
                <a:lnTo>
                  <a:pt x="927" y="332"/>
                </a:lnTo>
                <a:lnTo>
                  <a:pt x="944" y="374"/>
                </a:lnTo>
                <a:lnTo>
                  <a:pt x="963" y="419"/>
                </a:lnTo>
                <a:lnTo>
                  <a:pt x="982" y="468"/>
                </a:lnTo>
                <a:lnTo>
                  <a:pt x="1003" y="518"/>
                </a:lnTo>
                <a:lnTo>
                  <a:pt x="1024" y="570"/>
                </a:lnTo>
                <a:lnTo>
                  <a:pt x="1047" y="624"/>
                </a:lnTo>
                <a:lnTo>
                  <a:pt x="1069" y="680"/>
                </a:lnTo>
                <a:lnTo>
                  <a:pt x="1092" y="735"/>
                </a:lnTo>
                <a:lnTo>
                  <a:pt x="1116" y="793"/>
                </a:lnTo>
                <a:lnTo>
                  <a:pt x="1140" y="851"/>
                </a:lnTo>
                <a:lnTo>
                  <a:pt x="1162" y="908"/>
                </a:lnTo>
                <a:lnTo>
                  <a:pt x="1186" y="965"/>
                </a:lnTo>
                <a:lnTo>
                  <a:pt x="1210" y="1022"/>
                </a:lnTo>
                <a:lnTo>
                  <a:pt x="1233" y="1077"/>
                </a:lnTo>
                <a:lnTo>
                  <a:pt x="1255" y="1133"/>
                </a:lnTo>
                <a:lnTo>
                  <a:pt x="1277" y="1185"/>
                </a:lnTo>
                <a:lnTo>
                  <a:pt x="1297" y="1236"/>
                </a:lnTo>
                <a:lnTo>
                  <a:pt x="1318" y="1286"/>
                </a:lnTo>
                <a:lnTo>
                  <a:pt x="1337" y="1332"/>
                </a:lnTo>
                <a:lnTo>
                  <a:pt x="1355" y="1375"/>
                </a:lnTo>
                <a:lnTo>
                  <a:pt x="1371" y="1416"/>
                </a:lnTo>
                <a:lnTo>
                  <a:pt x="1387" y="1452"/>
                </a:lnTo>
                <a:lnTo>
                  <a:pt x="1399" y="1485"/>
                </a:lnTo>
                <a:lnTo>
                  <a:pt x="1412" y="1513"/>
                </a:lnTo>
                <a:lnTo>
                  <a:pt x="1422" y="1538"/>
                </a:lnTo>
                <a:lnTo>
                  <a:pt x="1430" y="1558"/>
                </a:lnTo>
                <a:lnTo>
                  <a:pt x="1435" y="1572"/>
                </a:lnTo>
                <a:lnTo>
                  <a:pt x="1439" y="1580"/>
                </a:lnTo>
                <a:lnTo>
                  <a:pt x="1440" y="1584"/>
                </a:lnTo>
                <a:lnTo>
                  <a:pt x="1120" y="1584"/>
                </a:lnTo>
                <a:lnTo>
                  <a:pt x="1097" y="1583"/>
                </a:lnTo>
                <a:lnTo>
                  <a:pt x="1077" y="1580"/>
                </a:lnTo>
                <a:lnTo>
                  <a:pt x="1064" y="1575"/>
                </a:lnTo>
                <a:lnTo>
                  <a:pt x="1052" y="1566"/>
                </a:lnTo>
                <a:lnTo>
                  <a:pt x="1043" y="1551"/>
                </a:lnTo>
                <a:lnTo>
                  <a:pt x="1034" y="1533"/>
                </a:lnTo>
                <a:lnTo>
                  <a:pt x="1033" y="1529"/>
                </a:lnTo>
                <a:lnTo>
                  <a:pt x="1030" y="1520"/>
                </a:lnTo>
                <a:lnTo>
                  <a:pt x="1024" y="1508"/>
                </a:lnTo>
                <a:lnTo>
                  <a:pt x="1017" y="1491"/>
                </a:lnTo>
                <a:lnTo>
                  <a:pt x="1009" y="1472"/>
                </a:lnTo>
                <a:lnTo>
                  <a:pt x="1000" y="1449"/>
                </a:lnTo>
                <a:lnTo>
                  <a:pt x="990" y="1425"/>
                </a:lnTo>
                <a:lnTo>
                  <a:pt x="980" y="1399"/>
                </a:lnTo>
                <a:lnTo>
                  <a:pt x="969" y="1374"/>
                </a:lnTo>
                <a:lnTo>
                  <a:pt x="958" y="1349"/>
                </a:lnTo>
                <a:lnTo>
                  <a:pt x="948" y="1325"/>
                </a:lnTo>
                <a:lnTo>
                  <a:pt x="939" y="1303"/>
                </a:lnTo>
                <a:lnTo>
                  <a:pt x="931" y="1282"/>
                </a:lnTo>
                <a:lnTo>
                  <a:pt x="924" y="1267"/>
                </a:lnTo>
                <a:lnTo>
                  <a:pt x="919" y="1253"/>
                </a:lnTo>
                <a:lnTo>
                  <a:pt x="915" y="1245"/>
                </a:lnTo>
                <a:lnTo>
                  <a:pt x="914" y="1243"/>
                </a:lnTo>
                <a:lnTo>
                  <a:pt x="503" y="1243"/>
                </a:lnTo>
                <a:lnTo>
                  <a:pt x="369" y="1584"/>
                </a:lnTo>
                <a:lnTo>
                  <a:pt x="0" y="1584"/>
                </a:lnTo>
                <a:lnTo>
                  <a:pt x="6" y="1570"/>
                </a:lnTo>
                <a:lnTo>
                  <a:pt x="13" y="1552"/>
                </a:lnTo>
                <a:lnTo>
                  <a:pt x="23" y="1528"/>
                </a:lnTo>
                <a:lnTo>
                  <a:pt x="34" y="1502"/>
                </a:lnTo>
                <a:lnTo>
                  <a:pt x="48" y="1472"/>
                </a:lnTo>
                <a:lnTo>
                  <a:pt x="61" y="1438"/>
                </a:lnTo>
                <a:lnTo>
                  <a:pt x="76" y="1402"/>
                </a:lnTo>
                <a:lnTo>
                  <a:pt x="92" y="1366"/>
                </a:lnTo>
                <a:lnTo>
                  <a:pt x="108" y="1328"/>
                </a:lnTo>
                <a:lnTo>
                  <a:pt x="124" y="1290"/>
                </a:lnTo>
                <a:lnTo>
                  <a:pt x="141" y="1253"/>
                </a:lnTo>
                <a:lnTo>
                  <a:pt x="155" y="1216"/>
                </a:lnTo>
                <a:lnTo>
                  <a:pt x="170" y="1182"/>
                </a:lnTo>
                <a:lnTo>
                  <a:pt x="185" y="1149"/>
                </a:lnTo>
                <a:lnTo>
                  <a:pt x="197" y="1119"/>
                </a:lnTo>
                <a:lnTo>
                  <a:pt x="209" y="1092"/>
                </a:lnTo>
                <a:lnTo>
                  <a:pt x="219" y="1071"/>
                </a:lnTo>
                <a:lnTo>
                  <a:pt x="227" y="1054"/>
                </a:lnTo>
                <a:lnTo>
                  <a:pt x="239" y="1025"/>
                </a:lnTo>
                <a:lnTo>
                  <a:pt x="252" y="1003"/>
                </a:lnTo>
                <a:lnTo>
                  <a:pt x="265" y="985"/>
                </a:lnTo>
                <a:lnTo>
                  <a:pt x="280" y="970"/>
                </a:lnTo>
                <a:lnTo>
                  <a:pt x="296" y="959"/>
                </a:lnTo>
                <a:lnTo>
                  <a:pt x="315" y="951"/>
                </a:lnTo>
                <a:lnTo>
                  <a:pt x="339" y="946"/>
                </a:lnTo>
                <a:lnTo>
                  <a:pt x="367" y="943"/>
                </a:lnTo>
                <a:lnTo>
                  <a:pt x="400" y="942"/>
                </a:lnTo>
                <a:lnTo>
                  <a:pt x="791" y="942"/>
                </a:lnTo>
                <a:lnTo>
                  <a:pt x="752" y="846"/>
                </a:lnTo>
                <a:lnTo>
                  <a:pt x="715" y="757"/>
                </a:lnTo>
                <a:lnTo>
                  <a:pt x="681" y="674"/>
                </a:lnTo>
                <a:lnTo>
                  <a:pt x="649" y="596"/>
                </a:lnTo>
                <a:lnTo>
                  <a:pt x="620" y="525"/>
                </a:lnTo>
                <a:lnTo>
                  <a:pt x="593" y="459"/>
                </a:lnTo>
                <a:lnTo>
                  <a:pt x="568" y="399"/>
                </a:lnTo>
                <a:lnTo>
                  <a:pt x="545" y="344"/>
                </a:lnTo>
                <a:lnTo>
                  <a:pt x="525" y="294"/>
                </a:lnTo>
                <a:lnTo>
                  <a:pt x="512" y="261"/>
                </a:lnTo>
                <a:lnTo>
                  <a:pt x="503" y="233"/>
                </a:lnTo>
                <a:lnTo>
                  <a:pt x="496" y="208"/>
                </a:lnTo>
                <a:lnTo>
                  <a:pt x="493" y="185"/>
                </a:lnTo>
                <a:lnTo>
                  <a:pt x="491" y="164"/>
                </a:lnTo>
                <a:lnTo>
                  <a:pt x="494" y="136"/>
                </a:lnTo>
                <a:lnTo>
                  <a:pt x="502" y="109"/>
                </a:lnTo>
                <a:lnTo>
                  <a:pt x="514" y="84"/>
                </a:lnTo>
                <a:lnTo>
                  <a:pt x="531" y="60"/>
                </a:lnTo>
                <a:lnTo>
                  <a:pt x="552" y="41"/>
                </a:lnTo>
                <a:lnTo>
                  <a:pt x="577" y="24"/>
                </a:lnTo>
                <a:lnTo>
                  <a:pt x="606" y="12"/>
                </a:lnTo>
                <a:lnTo>
                  <a:pt x="638" y="3"/>
                </a:lnTo>
                <a:lnTo>
                  <a:pt x="672" y="0"/>
                </a:lnTo>
                <a:close/>
              </a:path>
            </a:pathLst>
          </a:custGeom>
          <a:solidFill>
            <a:srgbClr val="FFFFFF"/>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662" dirty="0"/>
          </a:p>
        </p:txBody>
      </p:sp>
      <p:sp>
        <p:nvSpPr>
          <p:cNvPr id="20" name="Freeform 19"/>
          <p:cNvSpPr>
            <a:spLocks noEditPoints="1"/>
          </p:cNvSpPr>
          <p:nvPr userDrawn="1"/>
        </p:nvSpPr>
        <p:spPr bwMode="auto">
          <a:xfrm>
            <a:off x="8008315" y="541894"/>
            <a:ext cx="272630" cy="388616"/>
          </a:xfrm>
          <a:custGeom>
            <a:avLst/>
            <a:gdLst>
              <a:gd name="T0" fmla="*/ 372 w 1194"/>
              <a:gd name="T1" fmla="*/ 762 h 1572"/>
              <a:gd name="T2" fmla="*/ 594 w 1194"/>
              <a:gd name="T3" fmla="*/ 761 h 1572"/>
              <a:gd name="T4" fmla="*/ 678 w 1194"/>
              <a:gd name="T5" fmla="*/ 748 h 1572"/>
              <a:gd name="T6" fmla="*/ 742 w 1194"/>
              <a:gd name="T7" fmla="*/ 723 h 1572"/>
              <a:gd name="T8" fmla="*/ 789 w 1194"/>
              <a:gd name="T9" fmla="*/ 685 h 1572"/>
              <a:gd name="T10" fmla="*/ 818 w 1194"/>
              <a:gd name="T11" fmla="*/ 636 h 1572"/>
              <a:gd name="T12" fmla="*/ 834 w 1194"/>
              <a:gd name="T13" fmla="*/ 574 h 1572"/>
              <a:gd name="T14" fmla="*/ 834 w 1194"/>
              <a:gd name="T15" fmla="*/ 503 h 1572"/>
              <a:gd name="T16" fmla="*/ 818 w 1194"/>
              <a:gd name="T17" fmla="*/ 440 h 1572"/>
              <a:gd name="T18" fmla="*/ 789 w 1194"/>
              <a:gd name="T19" fmla="*/ 392 h 1572"/>
              <a:gd name="T20" fmla="*/ 742 w 1194"/>
              <a:gd name="T21" fmla="*/ 354 h 1572"/>
              <a:gd name="T22" fmla="*/ 678 w 1194"/>
              <a:gd name="T23" fmla="*/ 328 h 1572"/>
              <a:gd name="T24" fmla="*/ 594 w 1194"/>
              <a:gd name="T25" fmla="*/ 317 h 1572"/>
              <a:gd name="T26" fmla="*/ 372 w 1194"/>
              <a:gd name="T27" fmla="*/ 315 h 1572"/>
              <a:gd name="T28" fmla="*/ 572 w 1194"/>
              <a:gd name="T29" fmla="*/ 0 h 1572"/>
              <a:gd name="T30" fmla="*/ 707 w 1194"/>
              <a:gd name="T31" fmla="*/ 8 h 1572"/>
              <a:gd name="T32" fmla="*/ 825 w 1194"/>
              <a:gd name="T33" fmla="*/ 31 h 1572"/>
              <a:gd name="T34" fmla="*/ 927 w 1194"/>
              <a:gd name="T35" fmla="*/ 70 h 1572"/>
              <a:gd name="T36" fmla="*/ 1013 w 1194"/>
              <a:gd name="T37" fmla="*/ 123 h 1572"/>
              <a:gd name="T38" fmla="*/ 1082 w 1194"/>
              <a:gd name="T39" fmla="*/ 189 h 1572"/>
              <a:gd name="T40" fmla="*/ 1135 w 1194"/>
              <a:gd name="T41" fmla="*/ 268 h 1572"/>
              <a:gd name="T42" fmla="*/ 1173 w 1194"/>
              <a:gd name="T43" fmla="*/ 359 h 1572"/>
              <a:gd name="T44" fmla="*/ 1192 w 1194"/>
              <a:gd name="T45" fmla="*/ 461 h 1572"/>
              <a:gd name="T46" fmla="*/ 1194 w 1194"/>
              <a:gd name="T47" fmla="*/ 521 h 1572"/>
              <a:gd name="T48" fmla="*/ 1183 w 1194"/>
              <a:gd name="T49" fmla="*/ 641 h 1572"/>
              <a:gd name="T50" fmla="*/ 1150 w 1194"/>
              <a:gd name="T51" fmla="*/ 747 h 1572"/>
              <a:gd name="T52" fmla="*/ 1098 w 1194"/>
              <a:gd name="T53" fmla="*/ 840 h 1572"/>
              <a:gd name="T54" fmla="*/ 1029 w 1194"/>
              <a:gd name="T55" fmla="*/ 918 h 1572"/>
              <a:gd name="T56" fmla="*/ 948 w 1194"/>
              <a:gd name="T57" fmla="*/ 979 h 1572"/>
              <a:gd name="T58" fmla="*/ 853 w 1194"/>
              <a:gd name="T59" fmla="*/ 1026 h 1572"/>
              <a:gd name="T60" fmla="*/ 743 w 1194"/>
              <a:gd name="T61" fmla="*/ 1058 h 1572"/>
              <a:gd name="T62" fmla="*/ 616 w 1194"/>
              <a:gd name="T63" fmla="*/ 1073 h 1572"/>
              <a:gd name="T64" fmla="*/ 372 w 1194"/>
              <a:gd name="T65" fmla="*/ 1076 h 1572"/>
              <a:gd name="T66" fmla="*/ 0 w 1194"/>
              <a:gd name="T67" fmla="*/ 1572 h 15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94" h="1572">
                <a:moveTo>
                  <a:pt x="372" y="315"/>
                </a:moveTo>
                <a:lnTo>
                  <a:pt x="372" y="762"/>
                </a:lnTo>
                <a:lnTo>
                  <a:pt x="543" y="762"/>
                </a:lnTo>
                <a:lnTo>
                  <a:pt x="594" y="761"/>
                </a:lnTo>
                <a:lnTo>
                  <a:pt x="638" y="756"/>
                </a:lnTo>
                <a:lnTo>
                  <a:pt x="678" y="748"/>
                </a:lnTo>
                <a:lnTo>
                  <a:pt x="713" y="737"/>
                </a:lnTo>
                <a:lnTo>
                  <a:pt x="742" y="723"/>
                </a:lnTo>
                <a:lnTo>
                  <a:pt x="768" y="704"/>
                </a:lnTo>
                <a:lnTo>
                  <a:pt x="789" y="685"/>
                </a:lnTo>
                <a:lnTo>
                  <a:pt x="804" y="662"/>
                </a:lnTo>
                <a:lnTo>
                  <a:pt x="818" y="636"/>
                </a:lnTo>
                <a:lnTo>
                  <a:pt x="828" y="607"/>
                </a:lnTo>
                <a:lnTo>
                  <a:pt x="834" y="574"/>
                </a:lnTo>
                <a:lnTo>
                  <a:pt x="836" y="538"/>
                </a:lnTo>
                <a:lnTo>
                  <a:pt x="834" y="503"/>
                </a:lnTo>
                <a:lnTo>
                  <a:pt x="828" y="470"/>
                </a:lnTo>
                <a:lnTo>
                  <a:pt x="818" y="440"/>
                </a:lnTo>
                <a:lnTo>
                  <a:pt x="804" y="414"/>
                </a:lnTo>
                <a:lnTo>
                  <a:pt x="789" y="392"/>
                </a:lnTo>
                <a:lnTo>
                  <a:pt x="768" y="372"/>
                </a:lnTo>
                <a:lnTo>
                  <a:pt x="742" y="354"/>
                </a:lnTo>
                <a:lnTo>
                  <a:pt x="713" y="340"/>
                </a:lnTo>
                <a:lnTo>
                  <a:pt x="678" y="328"/>
                </a:lnTo>
                <a:lnTo>
                  <a:pt x="638" y="320"/>
                </a:lnTo>
                <a:lnTo>
                  <a:pt x="594" y="317"/>
                </a:lnTo>
                <a:lnTo>
                  <a:pt x="543" y="315"/>
                </a:lnTo>
                <a:lnTo>
                  <a:pt x="372" y="315"/>
                </a:lnTo>
                <a:close/>
                <a:moveTo>
                  <a:pt x="0" y="0"/>
                </a:moveTo>
                <a:lnTo>
                  <a:pt x="572" y="0"/>
                </a:lnTo>
                <a:lnTo>
                  <a:pt x="641" y="1"/>
                </a:lnTo>
                <a:lnTo>
                  <a:pt x="707" y="8"/>
                </a:lnTo>
                <a:lnTo>
                  <a:pt x="768" y="17"/>
                </a:lnTo>
                <a:lnTo>
                  <a:pt x="825" y="31"/>
                </a:lnTo>
                <a:lnTo>
                  <a:pt x="878" y="48"/>
                </a:lnTo>
                <a:lnTo>
                  <a:pt x="927" y="70"/>
                </a:lnTo>
                <a:lnTo>
                  <a:pt x="972" y="95"/>
                </a:lnTo>
                <a:lnTo>
                  <a:pt x="1013" y="123"/>
                </a:lnTo>
                <a:lnTo>
                  <a:pt x="1049" y="155"/>
                </a:lnTo>
                <a:lnTo>
                  <a:pt x="1082" y="189"/>
                </a:lnTo>
                <a:lnTo>
                  <a:pt x="1110" y="227"/>
                </a:lnTo>
                <a:lnTo>
                  <a:pt x="1135" y="268"/>
                </a:lnTo>
                <a:lnTo>
                  <a:pt x="1156" y="312"/>
                </a:lnTo>
                <a:lnTo>
                  <a:pt x="1173" y="359"/>
                </a:lnTo>
                <a:lnTo>
                  <a:pt x="1184" y="409"/>
                </a:lnTo>
                <a:lnTo>
                  <a:pt x="1192" y="461"/>
                </a:lnTo>
                <a:lnTo>
                  <a:pt x="1194" y="516"/>
                </a:lnTo>
                <a:lnTo>
                  <a:pt x="1194" y="521"/>
                </a:lnTo>
                <a:lnTo>
                  <a:pt x="1191" y="582"/>
                </a:lnTo>
                <a:lnTo>
                  <a:pt x="1183" y="641"/>
                </a:lnTo>
                <a:lnTo>
                  <a:pt x="1169" y="695"/>
                </a:lnTo>
                <a:lnTo>
                  <a:pt x="1150" y="747"/>
                </a:lnTo>
                <a:lnTo>
                  <a:pt x="1126" y="795"/>
                </a:lnTo>
                <a:lnTo>
                  <a:pt x="1098" y="840"/>
                </a:lnTo>
                <a:lnTo>
                  <a:pt x="1066" y="881"/>
                </a:lnTo>
                <a:lnTo>
                  <a:pt x="1029" y="918"/>
                </a:lnTo>
                <a:lnTo>
                  <a:pt x="990" y="951"/>
                </a:lnTo>
                <a:lnTo>
                  <a:pt x="948" y="979"/>
                </a:lnTo>
                <a:lnTo>
                  <a:pt x="903" y="1004"/>
                </a:lnTo>
                <a:lnTo>
                  <a:pt x="853" y="1026"/>
                </a:lnTo>
                <a:lnTo>
                  <a:pt x="800" y="1044"/>
                </a:lnTo>
                <a:lnTo>
                  <a:pt x="743" y="1058"/>
                </a:lnTo>
                <a:lnTo>
                  <a:pt x="681" y="1068"/>
                </a:lnTo>
                <a:lnTo>
                  <a:pt x="616" y="1073"/>
                </a:lnTo>
                <a:lnTo>
                  <a:pt x="546" y="1076"/>
                </a:lnTo>
                <a:lnTo>
                  <a:pt x="372" y="1076"/>
                </a:lnTo>
                <a:lnTo>
                  <a:pt x="372" y="1572"/>
                </a:lnTo>
                <a:lnTo>
                  <a:pt x="0" y="1572"/>
                </a:lnTo>
                <a:lnTo>
                  <a:pt x="0" y="0"/>
                </a:lnTo>
                <a:close/>
              </a:path>
            </a:pathLst>
          </a:custGeom>
          <a:solidFill>
            <a:srgbClr val="FFFFFF"/>
          </a:solidFill>
          <a:ln w="0">
            <a:noFill/>
            <a:prstDash val="solid"/>
            <a:round/>
            <a:headEnd/>
            <a:tailEnd/>
          </a:ln>
        </p:spPr>
        <p:txBody>
          <a:bodyPr vert="horz" wrap="square" lIns="84406" tIns="42203" rIns="84406" bIns="42203" numCol="1" anchor="t" anchorCtr="0" compatLnSpc="1">
            <a:prstTxWarp prst="textNoShape">
              <a:avLst/>
            </a:prstTxWarp>
          </a:bodyPr>
          <a:lstStyle/>
          <a:p>
            <a:endParaRPr lang="en-GB" sz="1662" dirty="0"/>
          </a:p>
        </p:txBody>
      </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lumMod val="75000"/>
            </a:schemeClr>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dirty="0"/>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dirty="0"/>
          </a:p>
        </p:txBody>
      </p:sp>
      <p:sp>
        <p:nvSpPr>
          <p:cNvPr id="22" name="Text Placeholder 7">
            <a:extLst>
              <a:ext uri="{FF2B5EF4-FFF2-40B4-BE49-F238E27FC236}">
                <a16:creationId xmlns:a16="http://schemas.microsoft.com/office/drawing/2014/main" id="{577D0B24-6EB7-45B8-8960-087B86C6913A}"/>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all" spc="0" baseline="0">
                <a:solidFill>
                  <a:schemeClr val="bg2"/>
                </a:solidFill>
              </a:defRPr>
            </a:lvl1pPr>
            <a:lvl2pPr>
              <a:lnSpc>
                <a:spcPct val="80000"/>
              </a:lnSpc>
              <a:spcBef>
                <a:spcPts val="185"/>
              </a:spcBef>
              <a:spcAft>
                <a:spcPts val="0"/>
              </a:spcAft>
              <a:defRPr sz="2954" spc="0">
                <a:solidFill>
                  <a:srgbClr val="7A91A6"/>
                </a:solidFill>
              </a:defRPr>
            </a:lvl2pPr>
          </a:lstStyle>
          <a:p>
            <a:pPr lvl="0"/>
            <a:r>
              <a:rPr lang="en-GB" dirty="0"/>
              <a:t>Insert Document heading</a:t>
            </a:r>
          </a:p>
          <a:p>
            <a:pPr lvl="0"/>
            <a:r>
              <a:rPr lang="en-GB" dirty="0"/>
              <a:t>This can span up to TWO LINES</a:t>
            </a:r>
          </a:p>
          <a:p>
            <a:pPr lvl="1"/>
            <a:r>
              <a:rPr lang="en-US" dirty="0"/>
              <a:t>Insert subtitle this can </a:t>
            </a:r>
            <a:br>
              <a:rPr lang="en-US" dirty="0"/>
            </a:br>
            <a:r>
              <a:rPr lang="en-US" dirty="0"/>
              <a:t>span up to two lines</a:t>
            </a:r>
          </a:p>
        </p:txBody>
      </p:sp>
      <p:sp>
        <p:nvSpPr>
          <p:cNvPr id="4" name="Date Placeholder 3">
            <a:extLst>
              <a:ext uri="{FF2B5EF4-FFF2-40B4-BE49-F238E27FC236}">
                <a16:creationId xmlns:a16="http://schemas.microsoft.com/office/drawing/2014/main" id="{040D7B13-4C0E-42DB-BAB7-BEBB0D6BB685}"/>
              </a:ext>
            </a:extLst>
          </p:cNvPr>
          <p:cNvSpPr>
            <a:spLocks noGrp="1"/>
          </p:cNvSpPr>
          <p:nvPr>
            <p:ph type="dt" sz="half" idx="16"/>
          </p:nvPr>
        </p:nvSpPr>
        <p:spPr>
          <a:xfrm rot="10800000" flipV="1">
            <a:off x="559343" y="5531670"/>
            <a:ext cx="8031476" cy="394715"/>
          </a:xfrm>
        </p:spPr>
        <p:txBody>
          <a:bodyPr/>
          <a:lstStyle/>
          <a:p>
            <a:endParaRPr lang="en-GB" dirty="0"/>
          </a:p>
        </p:txBody>
      </p:sp>
      <p:sp>
        <p:nvSpPr>
          <p:cNvPr id="12" name="txtSecureMarker1" hidden="1"/>
          <p:cNvSpPr txBox="1"/>
          <p:nvPr userDrawn="1"/>
        </p:nvSpPr>
        <p:spPr>
          <a:xfrm>
            <a:off x="2820943" y="57479"/>
            <a:ext cx="3502116" cy="248530"/>
          </a:xfrm>
          <a:prstGeom prst="rect">
            <a:avLst/>
          </a:prstGeom>
          <a:noFill/>
        </p:spPr>
        <p:txBody>
          <a:bodyPr wrap="square" rtlCol="0">
            <a:sp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15" name="txtSecureMarker2" hidden="1"/>
          <p:cNvSpPr txBox="1"/>
          <p:nvPr userDrawn="1"/>
        </p:nvSpPr>
        <p:spPr>
          <a:xfrm>
            <a:off x="2820943" y="6508377"/>
            <a:ext cx="3502116" cy="248530"/>
          </a:xfrm>
          <a:prstGeom prst="rect">
            <a:avLst/>
          </a:prstGeom>
          <a:noFill/>
        </p:spPr>
        <p:txBody>
          <a:bodyPr wrap="square" rtlCol="0">
            <a:sp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21" name="txtWMTD"/>
          <p:cNvSpPr txBox="1">
            <a:spLocks/>
          </p:cNvSpPr>
          <p:nvPr userDrawn="1"/>
        </p:nvSpPr>
        <p:spPr>
          <a:xfrm>
            <a:off x="6721058" y="5926385"/>
            <a:ext cx="1869761" cy="421005"/>
          </a:xfrm>
          <a:prstGeom prst="rect">
            <a:avLst/>
          </a:prstGeom>
        </p:spPr>
        <p:txBody>
          <a:bodyPr vert="horz" wrap="square" lIns="0" tIns="42203" rIns="84406" bIns="42203" rtlCol="0">
            <a:noAutofit/>
          </a:bodyPr>
          <a:lstStyle/>
          <a:p>
            <a:pPr algn="r">
              <a:spcAft>
                <a:spcPts val="0"/>
              </a:spcAft>
            </a:pPr>
            <a:r>
              <a:rPr lang="en-GB" sz="1108" b="1" dirty="0">
                <a:solidFill>
                  <a:srgbClr val="5D717F"/>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dirty="0">
                <a:solidFill>
                  <a:srgbClr val="5D717F"/>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343338956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A (Light Logo)">
    <p:spTree>
      <p:nvGrpSpPr>
        <p:cNvPr id="1" name=""/>
        <p:cNvGrpSpPr/>
        <p:nvPr/>
      </p:nvGrpSpPr>
      <p:grpSpPr>
        <a:xfrm>
          <a:off x="0" y="0"/>
          <a:ext cx="0" cy="0"/>
          <a:chOff x="0" y="0"/>
          <a:chExt cx="0" cy="0"/>
        </a:xfrm>
      </p:grpSpPr>
      <p:grpSp>
        <p:nvGrpSpPr>
          <p:cNvPr id="34" name="Group 33">
            <a:extLst>
              <a:ext uri="{FF2B5EF4-FFF2-40B4-BE49-F238E27FC236}">
                <a16:creationId xmlns:a16="http://schemas.microsoft.com/office/drawing/2014/main" id="{C34A7525-2D98-4CBF-8204-7CC741F3CBBF}"/>
              </a:ext>
            </a:extLst>
          </p:cNvPr>
          <p:cNvGrpSpPr>
            <a:grpSpLocks noChangeAspect="1"/>
          </p:cNvGrpSpPr>
          <p:nvPr userDrawn="1"/>
        </p:nvGrpSpPr>
        <p:grpSpPr bwMode="auto">
          <a:xfrm>
            <a:off x="7860840" y="312874"/>
            <a:ext cx="859141" cy="853013"/>
            <a:chOff x="1919" y="1062"/>
            <a:chExt cx="2395" cy="2195"/>
          </a:xfrm>
        </p:grpSpPr>
        <p:sp>
          <p:nvSpPr>
            <p:cNvPr id="35" name="Freeform 13">
              <a:extLst>
                <a:ext uri="{FF2B5EF4-FFF2-40B4-BE49-F238E27FC236}">
                  <a16:creationId xmlns:a16="http://schemas.microsoft.com/office/drawing/2014/main" id="{5793CDAB-A082-4DA4-9893-0EE0826BBFAA}"/>
                </a:ext>
              </a:extLst>
            </p:cNvPr>
            <p:cNvSpPr>
              <a:spLocks/>
            </p:cNvSpPr>
            <p:nvPr/>
          </p:nvSpPr>
          <p:spPr bwMode="auto">
            <a:xfrm>
              <a:off x="1919" y="1103"/>
              <a:ext cx="2151" cy="2154"/>
            </a:xfrm>
            <a:custGeom>
              <a:avLst/>
              <a:gdLst>
                <a:gd name="T0" fmla="*/ 988 w 1008"/>
                <a:gd name="T1" fmla="*/ 457 h 1008"/>
                <a:gd name="T2" fmla="*/ 894 w 1008"/>
                <a:gd name="T3" fmla="*/ 363 h 1008"/>
                <a:gd name="T4" fmla="*/ 953 w 1008"/>
                <a:gd name="T5" fmla="*/ 275 h 1008"/>
                <a:gd name="T6" fmla="*/ 933 w 1008"/>
                <a:gd name="T7" fmla="*/ 239 h 1008"/>
                <a:gd name="T8" fmla="*/ 909 w 1008"/>
                <a:gd name="T9" fmla="*/ 241 h 1008"/>
                <a:gd name="T10" fmla="*/ 767 w 1008"/>
                <a:gd name="T11" fmla="*/ 100 h 1008"/>
                <a:gd name="T12" fmla="*/ 769 w 1008"/>
                <a:gd name="T13" fmla="*/ 75 h 1008"/>
                <a:gd name="T14" fmla="*/ 504 w 1008"/>
                <a:gd name="T15" fmla="*/ 0 h 1008"/>
                <a:gd name="T16" fmla="*/ 0 w 1008"/>
                <a:gd name="T17" fmla="*/ 504 h 1008"/>
                <a:gd name="T18" fmla="*/ 504 w 1008"/>
                <a:gd name="T19" fmla="*/ 1008 h 1008"/>
                <a:gd name="T20" fmla="*/ 1008 w 1008"/>
                <a:gd name="T21" fmla="*/ 504 h 1008"/>
                <a:gd name="T22" fmla="*/ 1006 w 1008"/>
                <a:gd name="T23" fmla="*/ 455 h 1008"/>
                <a:gd name="T24" fmla="*/ 988 w 1008"/>
                <a:gd name="T25" fmla="*/ 457 h 10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08" h="1008">
                  <a:moveTo>
                    <a:pt x="988" y="457"/>
                  </a:moveTo>
                  <a:cubicBezTo>
                    <a:pt x="936" y="457"/>
                    <a:pt x="894" y="415"/>
                    <a:pt x="894" y="363"/>
                  </a:cubicBezTo>
                  <a:cubicBezTo>
                    <a:pt x="894" y="323"/>
                    <a:pt x="918" y="289"/>
                    <a:pt x="953" y="275"/>
                  </a:cubicBezTo>
                  <a:cubicBezTo>
                    <a:pt x="947" y="263"/>
                    <a:pt x="940" y="251"/>
                    <a:pt x="933" y="239"/>
                  </a:cubicBezTo>
                  <a:cubicBezTo>
                    <a:pt x="925" y="240"/>
                    <a:pt x="917" y="241"/>
                    <a:pt x="909" y="241"/>
                  </a:cubicBezTo>
                  <a:cubicBezTo>
                    <a:pt x="830" y="241"/>
                    <a:pt x="767" y="178"/>
                    <a:pt x="767" y="100"/>
                  </a:cubicBezTo>
                  <a:cubicBezTo>
                    <a:pt x="767" y="91"/>
                    <a:pt x="768" y="83"/>
                    <a:pt x="769" y="75"/>
                  </a:cubicBezTo>
                  <a:cubicBezTo>
                    <a:pt x="692" y="28"/>
                    <a:pt x="602" y="0"/>
                    <a:pt x="504" y="0"/>
                  </a:cubicBezTo>
                  <a:cubicBezTo>
                    <a:pt x="226" y="0"/>
                    <a:pt x="0" y="226"/>
                    <a:pt x="0" y="504"/>
                  </a:cubicBezTo>
                  <a:cubicBezTo>
                    <a:pt x="0" y="782"/>
                    <a:pt x="226" y="1008"/>
                    <a:pt x="504" y="1008"/>
                  </a:cubicBezTo>
                  <a:cubicBezTo>
                    <a:pt x="783" y="1008"/>
                    <a:pt x="1008" y="782"/>
                    <a:pt x="1008" y="504"/>
                  </a:cubicBezTo>
                  <a:cubicBezTo>
                    <a:pt x="1008" y="488"/>
                    <a:pt x="1007" y="471"/>
                    <a:pt x="1006" y="455"/>
                  </a:cubicBezTo>
                  <a:cubicBezTo>
                    <a:pt x="1000" y="457"/>
                    <a:pt x="994" y="457"/>
                    <a:pt x="988" y="457"/>
                  </a:cubicBezTo>
                </a:path>
              </a:pathLst>
            </a:custGeom>
            <a:solidFill>
              <a:srgbClr val="D1323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dirty="0"/>
            </a:p>
          </p:txBody>
        </p:sp>
        <p:sp>
          <p:nvSpPr>
            <p:cNvPr id="36" name="Oval 6">
              <a:extLst>
                <a:ext uri="{FF2B5EF4-FFF2-40B4-BE49-F238E27FC236}">
                  <a16:creationId xmlns:a16="http://schemas.microsoft.com/office/drawing/2014/main" id="{20174FFB-9DE1-43EA-894B-99E75F40BF90}"/>
                </a:ext>
              </a:extLst>
            </p:cNvPr>
            <p:cNvSpPr>
              <a:spLocks noChangeArrowheads="1"/>
            </p:cNvSpPr>
            <p:nvPr/>
          </p:nvSpPr>
          <p:spPr bwMode="auto">
            <a:xfrm>
              <a:off x="4082" y="1480"/>
              <a:ext cx="232" cy="232"/>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dirty="0"/>
            </a:p>
          </p:txBody>
        </p:sp>
        <p:sp>
          <p:nvSpPr>
            <p:cNvPr id="37" name="Oval 7">
              <a:extLst>
                <a:ext uri="{FF2B5EF4-FFF2-40B4-BE49-F238E27FC236}">
                  <a16:creationId xmlns:a16="http://schemas.microsoft.com/office/drawing/2014/main" id="{D789D349-E626-4B49-BFF2-6BC6EBB4EA79}"/>
                </a:ext>
              </a:extLst>
            </p:cNvPr>
            <p:cNvSpPr>
              <a:spLocks noChangeArrowheads="1"/>
            </p:cNvSpPr>
            <p:nvPr/>
          </p:nvSpPr>
          <p:spPr bwMode="auto">
            <a:xfrm>
              <a:off x="3574" y="1062"/>
              <a:ext cx="540" cy="540"/>
            </a:xfrm>
            <a:prstGeom prst="ellipse">
              <a:avLst/>
            </a:prstGeom>
            <a:solidFill>
              <a:srgbClr val="8FA2A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dirty="0"/>
            </a:p>
          </p:txBody>
        </p:sp>
        <p:sp>
          <p:nvSpPr>
            <p:cNvPr id="38" name="Oval 8">
              <a:extLst>
                <a:ext uri="{FF2B5EF4-FFF2-40B4-BE49-F238E27FC236}">
                  <a16:creationId xmlns:a16="http://schemas.microsoft.com/office/drawing/2014/main" id="{36847CE1-8993-4E01-B826-D512F6DFBB32}"/>
                </a:ext>
              </a:extLst>
            </p:cNvPr>
            <p:cNvSpPr>
              <a:spLocks noChangeArrowheads="1"/>
            </p:cNvSpPr>
            <p:nvPr/>
          </p:nvSpPr>
          <p:spPr bwMode="auto">
            <a:xfrm>
              <a:off x="3848" y="1720"/>
              <a:ext cx="327" cy="327"/>
            </a:xfrm>
            <a:prstGeom prst="ellipse">
              <a:avLst/>
            </a:prstGeom>
            <a:solidFill>
              <a:srgbClr val="D4DCDE"/>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dirty="0"/>
            </a:p>
          </p:txBody>
        </p:sp>
        <p:sp>
          <p:nvSpPr>
            <p:cNvPr id="39" name="Freeform 9">
              <a:extLst>
                <a:ext uri="{FF2B5EF4-FFF2-40B4-BE49-F238E27FC236}">
                  <a16:creationId xmlns:a16="http://schemas.microsoft.com/office/drawing/2014/main" id="{A76B83E6-041C-4648-AC53-61E4F2DADD02}"/>
                </a:ext>
              </a:extLst>
            </p:cNvPr>
            <p:cNvSpPr>
              <a:spLocks/>
            </p:cNvSpPr>
            <p:nvPr/>
          </p:nvSpPr>
          <p:spPr bwMode="auto">
            <a:xfrm>
              <a:off x="2882" y="1647"/>
              <a:ext cx="916" cy="1007"/>
            </a:xfrm>
            <a:custGeom>
              <a:avLst/>
              <a:gdLst>
                <a:gd name="T0" fmla="*/ 258 w 437"/>
                <a:gd name="T1" fmla="*/ 43 h 480"/>
                <a:gd name="T2" fmla="*/ 238 w 437"/>
                <a:gd name="T3" fmla="*/ 13 h 480"/>
                <a:gd name="T4" fmla="*/ 204 w 437"/>
                <a:gd name="T5" fmla="*/ 0 h 480"/>
                <a:gd name="T6" fmla="*/ 149 w 437"/>
                <a:gd name="T7" fmla="*/ 50 h 480"/>
                <a:gd name="T8" fmla="*/ 160 w 437"/>
                <a:gd name="T9" fmla="*/ 89 h 480"/>
                <a:gd name="T10" fmla="*/ 240 w 437"/>
                <a:gd name="T11" fmla="*/ 285 h 480"/>
                <a:gd name="T12" fmla="*/ 122 w 437"/>
                <a:gd name="T13" fmla="*/ 285 h 480"/>
                <a:gd name="T14" fmla="*/ 69 w 437"/>
                <a:gd name="T15" fmla="*/ 319 h 480"/>
                <a:gd name="T16" fmla="*/ 0 w 437"/>
                <a:gd name="T17" fmla="*/ 480 h 480"/>
                <a:gd name="T18" fmla="*/ 112 w 437"/>
                <a:gd name="T19" fmla="*/ 480 h 480"/>
                <a:gd name="T20" fmla="*/ 153 w 437"/>
                <a:gd name="T21" fmla="*/ 376 h 480"/>
                <a:gd name="T22" fmla="*/ 278 w 437"/>
                <a:gd name="T23" fmla="*/ 376 h 480"/>
                <a:gd name="T24" fmla="*/ 314 w 437"/>
                <a:gd name="T25" fmla="*/ 464 h 480"/>
                <a:gd name="T26" fmla="*/ 340 w 437"/>
                <a:gd name="T27" fmla="*/ 480 h 480"/>
                <a:gd name="T28" fmla="*/ 437 w 437"/>
                <a:gd name="T29" fmla="*/ 480 h 480"/>
                <a:gd name="T30" fmla="*/ 258 w 437"/>
                <a:gd name="T31" fmla="*/ 43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37" h="480">
                  <a:moveTo>
                    <a:pt x="258" y="43"/>
                  </a:moveTo>
                  <a:cubicBezTo>
                    <a:pt x="253" y="31"/>
                    <a:pt x="245" y="19"/>
                    <a:pt x="238" y="13"/>
                  </a:cubicBezTo>
                  <a:cubicBezTo>
                    <a:pt x="228" y="4"/>
                    <a:pt x="217" y="0"/>
                    <a:pt x="204" y="0"/>
                  </a:cubicBezTo>
                  <a:cubicBezTo>
                    <a:pt x="171" y="0"/>
                    <a:pt x="149" y="24"/>
                    <a:pt x="149" y="50"/>
                  </a:cubicBezTo>
                  <a:cubicBezTo>
                    <a:pt x="149" y="60"/>
                    <a:pt x="152" y="71"/>
                    <a:pt x="160" y="89"/>
                  </a:cubicBezTo>
                  <a:cubicBezTo>
                    <a:pt x="177" y="132"/>
                    <a:pt x="203" y="196"/>
                    <a:pt x="240" y="285"/>
                  </a:cubicBezTo>
                  <a:cubicBezTo>
                    <a:pt x="122" y="285"/>
                    <a:pt x="122" y="285"/>
                    <a:pt x="122" y="285"/>
                  </a:cubicBezTo>
                  <a:cubicBezTo>
                    <a:pt x="88" y="285"/>
                    <a:pt x="81" y="292"/>
                    <a:pt x="69" y="319"/>
                  </a:cubicBezTo>
                  <a:cubicBezTo>
                    <a:pt x="57" y="346"/>
                    <a:pt x="8" y="461"/>
                    <a:pt x="0" y="480"/>
                  </a:cubicBezTo>
                  <a:cubicBezTo>
                    <a:pt x="112" y="480"/>
                    <a:pt x="112" y="480"/>
                    <a:pt x="112" y="480"/>
                  </a:cubicBezTo>
                  <a:cubicBezTo>
                    <a:pt x="153" y="376"/>
                    <a:pt x="153" y="376"/>
                    <a:pt x="153" y="376"/>
                  </a:cubicBezTo>
                  <a:cubicBezTo>
                    <a:pt x="278" y="376"/>
                    <a:pt x="278" y="376"/>
                    <a:pt x="278" y="376"/>
                  </a:cubicBezTo>
                  <a:cubicBezTo>
                    <a:pt x="278" y="376"/>
                    <a:pt x="314" y="464"/>
                    <a:pt x="314" y="464"/>
                  </a:cubicBezTo>
                  <a:cubicBezTo>
                    <a:pt x="319" y="477"/>
                    <a:pt x="323" y="480"/>
                    <a:pt x="340" y="480"/>
                  </a:cubicBezTo>
                  <a:cubicBezTo>
                    <a:pt x="437" y="480"/>
                    <a:pt x="437" y="480"/>
                    <a:pt x="437" y="480"/>
                  </a:cubicBezTo>
                  <a:cubicBezTo>
                    <a:pt x="437" y="480"/>
                    <a:pt x="263" y="56"/>
                    <a:pt x="258" y="4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dirty="0"/>
            </a:p>
          </p:txBody>
        </p:sp>
        <p:sp>
          <p:nvSpPr>
            <p:cNvPr id="40" name="Freeform 10">
              <a:extLst>
                <a:ext uri="{FF2B5EF4-FFF2-40B4-BE49-F238E27FC236}">
                  <a16:creationId xmlns:a16="http://schemas.microsoft.com/office/drawing/2014/main" id="{D65F89F2-C578-4F56-BF9B-E8DB2328ABE8}"/>
                </a:ext>
              </a:extLst>
            </p:cNvPr>
            <p:cNvSpPr>
              <a:spLocks noEditPoints="1"/>
            </p:cNvSpPr>
            <p:nvPr/>
          </p:nvSpPr>
          <p:spPr bwMode="auto">
            <a:xfrm>
              <a:off x="2331" y="1653"/>
              <a:ext cx="759" cy="1001"/>
            </a:xfrm>
            <a:custGeom>
              <a:avLst/>
              <a:gdLst>
                <a:gd name="T0" fmla="*/ 318 w 362"/>
                <a:gd name="T1" fmla="*/ 47 h 477"/>
                <a:gd name="T2" fmla="*/ 173 w 362"/>
                <a:gd name="T3" fmla="*/ 0 h 477"/>
                <a:gd name="T4" fmla="*/ 0 w 362"/>
                <a:gd name="T5" fmla="*/ 0 h 477"/>
                <a:gd name="T6" fmla="*/ 0 w 362"/>
                <a:gd name="T7" fmla="*/ 477 h 477"/>
                <a:gd name="T8" fmla="*/ 112 w 362"/>
                <a:gd name="T9" fmla="*/ 477 h 477"/>
                <a:gd name="T10" fmla="*/ 112 w 362"/>
                <a:gd name="T11" fmla="*/ 326 h 477"/>
                <a:gd name="T12" fmla="*/ 165 w 362"/>
                <a:gd name="T13" fmla="*/ 326 h 477"/>
                <a:gd name="T14" fmla="*/ 312 w 362"/>
                <a:gd name="T15" fmla="*/ 279 h 477"/>
                <a:gd name="T16" fmla="*/ 362 w 362"/>
                <a:gd name="T17" fmla="*/ 158 h 477"/>
                <a:gd name="T18" fmla="*/ 362 w 362"/>
                <a:gd name="T19" fmla="*/ 157 h 477"/>
                <a:gd name="T20" fmla="*/ 318 w 362"/>
                <a:gd name="T21" fmla="*/ 47 h 477"/>
                <a:gd name="T22" fmla="*/ 233 w 362"/>
                <a:gd name="T23" fmla="*/ 214 h 477"/>
                <a:gd name="T24" fmla="*/ 165 w 362"/>
                <a:gd name="T25" fmla="*/ 231 h 477"/>
                <a:gd name="T26" fmla="*/ 112 w 362"/>
                <a:gd name="T27" fmla="*/ 231 h 477"/>
                <a:gd name="T28" fmla="*/ 112 w 362"/>
                <a:gd name="T29" fmla="*/ 96 h 477"/>
                <a:gd name="T30" fmla="*/ 165 w 362"/>
                <a:gd name="T31" fmla="*/ 96 h 477"/>
                <a:gd name="T32" fmla="*/ 233 w 362"/>
                <a:gd name="T33" fmla="*/ 113 h 477"/>
                <a:gd name="T34" fmla="*/ 253 w 362"/>
                <a:gd name="T35" fmla="*/ 164 h 477"/>
                <a:gd name="T36" fmla="*/ 233 w 362"/>
                <a:gd name="T37" fmla="*/ 214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62" h="477">
                  <a:moveTo>
                    <a:pt x="318" y="47"/>
                  </a:moveTo>
                  <a:cubicBezTo>
                    <a:pt x="286" y="17"/>
                    <a:pt x="238" y="0"/>
                    <a:pt x="173" y="0"/>
                  </a:cubicBezTo>
                  <a:cubicBezTo>
                    <a:pt x="0" y="0"/>
                    <a:pt x="0" y="0"/>
                    <a:pt x="0" y="0"/>
                  </a:cubicBezTo>
                  <a:cubicBezTo>
                    <a:pt x="0" y="477"/>
                    <a:pt x="0" y="477"/>
                    <a:pt x="0" y="477"/>
                  </a:cubicBezTo>
                  <a:cubicBezTo>
                    <a:pt x="112" y="477"/>
                    <a:pt x="112" y="477"/>
                    <a:pt x="112" y="477"/>
                  </a:cubicBezTo>
                  <a:cubicBezTo>
                    <a:pt x="112" y="326"/>
                    <a:pt x="112" y="326"/>
                    <a:pt x="112" y="326"/>
                  </a:cubicBezTo>
                  <a:cubicBezTo>
                    <a:pt x="165" y="326"/>
                    <a:pt x="165" y="326"/>
                    <a:pt x="165" y="326"/>
                  </a:cubicBezTo>
                  <a:cubicBezTo>
                    <a:pt x="231" y="326"/>
                    <a:pt x="278" y="310"/>
                    <a:pt x="312" y="279"/>
                  </a:cubicBezTo>
                  <a:cubicBezTo>
                    <a:pt x="343" y="250"/>
                    <a:pt x="362" y="209"/>
                    <a:pt x="362" y="158"/>
                  </a:cubicBezTo>
                  <a:cubicBezTo>
                    <a:pt x="362" y="157"/>
                    <a:pt x="362" y="157"/>
                    <a:pt x="362" y="157"/>
                  </a:cubicBezTo>
                  <a:cubicBezTo>
                    <a:pt x="362" y="111"/>
                    <a:pt x="345" y="74"/>
                    <a:pt x="318" y="47"/>
                  </a:cubicBezTo>
                  <a:moveTo>
                    <a:pt x="233" y="214"/>
                  </a:moveTo>
                  <a:cubicBezTo>
                    <a:pt x="218" y="226"/>
                    <a:pt x="197" y="231"/>
                    <a:pt x="165" y="231"/>
                  </a:cubicBezTo>
                  <a:cubicBezTo>
                    <a:pt x="112" y="231"/>
                    <a:pt x="112" y="231"/>
                    <a:pt x="112" y="231"/>
                  </a:cubicBezTo>
                  <a:cubicBezTo>
                    <a:pt x="112" y="96"/>
                    <a:pt x="112" y="96"/>
                    <a:pt x="112" y="96"/>
                  </a:cubicBezTo>
                  <a:cubicBezTo>
                    <a:pt x="165" y="96"/>
                    <a:pt x="165" y="96"/>
                    <a:pt x="165" y="96"/>
                  </a:cubicBezTo>
                  <a:cubicBezTo>
                    <a:pt x="197" y="96"/>
                    <a:pt x="218" y="101"/>
                    <a:pt x="233" y="113"/>
                  </a:cubicBezTo>
                  <a:cubicBezTo>
                    <a:pt x="246" y="124"/>
                    <a:pt x="253" y="141"/>
                    <a:pt x="253" y="164"/>
                  </a:cubicBezTo>
                  <a:cubicBezTo>
                    <a:pt x="253" y="186"/>
                    <a:pt x="246" y="203"/>
                    <a:pt x="233" y="21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1662" dirty="0"/>
            </a:p>
          </p:txBody>
        </p:sp>
      </p:grpSp>
      <p:sp>
        <p:nvSpPr>
          <p:cNvPr id="13" name="Picture Placeholder 34"/>
          <p:cNvSpPr>
            <a:spLocks noGrp="1"/>
          </p:cNvSpPr>
          <p:nvPr>
            <p:ph type="pic" sz="quarter" idx="10"/>
          </p:nvPr>
        </p:nvSpPr>
        <p:spPr>
          <a:xfrm>
            <a:off x="0" y="-1"/>
            <a:ext cx="9144000" cy="3595821"/>
          </a:xfrm>
          <a:custGeom>
            <a:avLst/>
            <a:gdLst>
              <a:gd name="connsiteX0" fmla="*/ 9328426 w 9906000"/>
              <a:gd name="connsiteY0" fmla="*/ 571257 h 3595821"/>
              <a:gd name="connsiteX1" fmla="*/ 9318454 w 9906000"/>
              <a:gd name="connsiteY1" fmla="*/ 571750 h 3595821"/>
              <a:gd name="connsiteX2" fmla="*/ 9309231 w 9906000"/>
              <a:gd name="connsiteY2" fmla="*/ 573966 h 3595821"/>
              <a:gd name="connsiteX3" fmla="*/ 9300506 w 9906000"/>
              <a:gd name="connsiteY3" fmla="*/ 577659 h 3595821"/>
              <a:gd name="connsiteX4" fmla="*/ 9292529 w 9906000"/>
              <a:gd name="connsiteY4" fmla="*/ 582584 h 3595821"/>
              <a:gd name="connsiteX5" fmla="*/ 9285549 w 9906000"/>
              <a:gd name="connsiteY5" fmla="*/ 588493 h 3595821"/>
              <a:gd name="connsiteX6" fmla="*/ 9279566 w 9906000"/>
              <a:gd name="connsiteY6" fmla="*/ 595388 h 3595821"/>
              <a:gd name="connsiteX7" fmla="*/ 9274830 w 9906000"/>
              <a:gd name="connsiteY7" fmla="*/ 603267 h 3595821"/>
              <a:gd name="connsiteX8" fmla="*/ 9271090 w 9906000"/>
              <a:gd name="connsiteY8" fmla="*/ 611885 h 3595821"/>
              <a:gd name="connsiteX9" fmla="*/ 9268598 w 9906000"/>
              <a:gd name="connsiteY9" fmla="*/ 620996 h 3595821"/>
              <a:gd name="connsiteX10" fmla="*/ 9268099 w 9906000"/>
              <a:gd name="connsiteY10" fmla="*/ 630845 h 3595821"/>
              <a:gd name="connsiteX11" fmla="*/ 9268598 w 9906000"/>
              <a:gd name="connsiteY11" fmla="*/ 640694 h 3595821"/>
              <a:gd name="connsiteX12" fmla="*/ 9271090 w 9906000"/>
              <a:gd name="connsiteY12" fmla="*/ 649805 h 3595821"/>
              <a:gd name="connsiteX13" fmla="*/ 9274830 w 9906000"/>
              <a:gd name="connsiteY13" fmla="*/ 658177 h 3595821"/>
              <a:gd name="connsiteX14" fmla="*/ 9279566 w 9906000"/>
              <a:gd name="connsiteY14" fmla="*/ 666056 h 3595821"/>
              <a:gd name="connsiteX15" fmla="*/ 9285549 w 9906000"/>
              <a:gd name="connsiteY15" fmla="*/ 672951 h 3595821"/>
              <a:gd name="connsiteX16" fmla="*/ 9292529 w 9906000"/>
              <a:gd name="connsiteY16" fmla="*/ 679106 h 3595821"/>
              <a:gd name="connsiteX17" fmla="*/ 9300506 w 9906000"/>
              <a:gd name="connsiteY17" fmla="*/ 683785 h 3595821"/>
              <a:gd name="connsiteX18" fmla="*/ 9309231 w 9906000"/>
              <a:gd name="connsiteY18" fmla="*/ 687478 h 3595821"/>
              <a:gd name="connsiteX19" fmla="*/ 9318454 w 9906000"/>
              <a:gd name="connsiteY19" fmla="*/ 689694 h 3595821"/>
              <a:gd name="connsiteX20" fmla="*/ 9328426 w 9906000"/>
              <a:gd name="connsiteY20" fmla="*/ 690433 h 3595821"/>
              <a:gd name="connsiteX21" fmla="*/ 9338397 w 9906000"/>
              <a:gd name="connsiteY21" fmla="*/ 689694 h 3595821"/>
              <a:gd name="connsiteX22" fmla="*/ 9347621 w 9906000"/>
              <a:gd name="connsiteY22" fmla="*/ 687478 h 3595821"/>
              <a:gd name="connsiteX23" fmla="*/ 9356096 w 9906000"/>
              <a:gd name="connsiteY23" fmla="*/ 683785 h 3595821"/>
              <a:gd name="connsiteX24" fmla="*/ 9364323 w 9906000"/>
              <a:gd name="connsiteY24" fmla="*/ 679106 h 3595821"/>
              <a:gd name="connsiteX25" fmla="*/ 9371303 w 9906000"/>
              <a:gd name="connsiteY25" fmla="*/ 672951 h 3595821"/>
              <a:gd name="connsiteX26" fmla="*/ 9377286 w 9906000"/>
              <a:gd name="connsiteY26" fmla="*/ 666056 h 3595821"/>
              <a:gd name="connsiteX27" fmla="*/ 9382022 w 9906000"/>
              <a:gd name="connsiteY27" fmla="*/ 658177 h 3595821"/>
              <a:gd name="connsiteX28" fmla="*/ 9385761 w 9906000"/>
              <a:gd name="connsiteY28" fmla="*/ 649805 h 3595821"/>
              <a:gd name="connsiteX29" fmla="*/ 9388005 w 9906000"/>
              <a:gd name="connsiteY29" fmla="*/ 640694 h 3595821"/>
              <a:gd name="connsiteX30" fmla="*/ 9389002 w 9906000"/>
              <a:gd name="connsiteY30" fmla="*/ 630845 h 3595821"/>
              <a:gd name="connsiteX31" fmla="*/ 9388005 w 9906000"/>
              <a:gd name="connsiteY31" fmla="*/ 620996 h 3595821"/>
              <a:gd name="connsiteX32" fmla="*/ 9385761 w 9906000"/>
              <a:gd name="connsiteY32" fmla="*/ 611885 h 3595821"/>
              <a:gd name="connsiteX33" fmla="*/ 9382022 w 9906000"/>
              <a:gd name="connsiteY33" fmla="*/ 603267 h 3595821"/>
              <a:gd name="connsiteX34" fmla="*/ 9377286 w 9906000"/>
              <a:gd name="connsiteY34" fmla="*/ 595388 h 3595821"/>
              <a:gd name="connsiteX35" fmla="*/ 9371303 w 9906000"/>
              <a:gd name="connsiteY35" fmla="*/ 588493 h 3595821"/>
              <a:gd name="connsiteX36" fmla="*/ 9364323 w 9906000"/>
              <a:gd name="connsiteY36" fmla="*/ 582584 h 3595821"/>
              <a:gd name="connsiteX37" fmla="*/ 9356096 w 9906000"/>
              <a:gd name="connsiteY37" fmla="*/ 577659 h 3595821"/>
              <a:gd name="connsiteX38" fmla="*/ 9347621 w 9906000"/>
              <a:gd name="connsiteY38" fmla="*/ 573966 h 3595821"/>
              <a:gd name="connsiteX39" fmla="*/ 9338397 w 9906000"/>
              <a:gd name="connsiteY39" fmla="*/ 571750 h 3595821"/>
              <a:gd name="connsiteX40" fmla="*/ 9401340 w 9906000"/>
              <a:gd name="connsiteY40" fmla="*/ 479717 h 3595821"/>
              <a:gd name="connsiteX41" fmla="*/ 9393147 w 9906000"/>
              <a:gd name="connsiteY41" fmla="*/ 480707 h 3595821"/>
              <a:gd name="connsiteX42" fmla="*/ 9385699 w 9906000"/>
              <a:gd name="connsiteY42" fmla="*/ 482935 h 3595821"/>
              <a:gd name="connsiteX43" fmla="*/ 9378747 w 9906000"/>
              <a:gd name="connsiteY43" fmla="*/ 486400 h 3595821"/>
              <a:gd name="connsiteX44" fmla="*/ 9373036 w 9906000"/>
              <a:gd name="connsiteY44" fmla="*/ 491597 h 3595821"/>
              <a:gd name="connsiteX45" fmla="*/ 9368071 w 9906000"/>
              <a:gd name="connsiteY45" fmla="*/ 497290 h 3595821"/>
              <a:gd name="connsiteX46" fmla="*/ 9364346 w 9906000"/>
              <a:gd name="connsiteY46" fmla="*/ 504220 h 3595821"/>
              <a:gd name="connsiteX47" fmla="*/ 9362112 w 9906000"/>
              <a:gd name="connsiteY47" fmla="*/ 511398 h 3595821"/>
              <a:gd name="connsiteX48" fmla="*/ 9361367 w 9906000"/>
              <a:gd name="connsiteY48" fmla="*/ 519566 h 3595821"/>
              <a:gd name="connsiteX49" fmla="*/ 9362112 w 9906000"/>
              <a:gd name="connsiteY49" fmla="*/ 527486 h 3595821"/>
              <a:gd name="connsiteX50" fmla="*/ 9364346 w 9906000"/>
              <a:gd name="connsiteY50" fmla="*/ 534911 h 3595821"/>
              <a:gd name="connsiteX51" fmla="*/ 9368071 w 9906000"/>
              <a:gd name="connsiteY51" fmla="*/ 541594 h 3595821"/>
              <a:gd name="connsiteX52" fmla="*/ 9373036 w 9906000"/>
              <a:gd name="connsiteY52" fmla="*/ 547534 h 3595821"/>
              <a:gd name="connsiteX53" fmla="*/ 9378747 w 9906000"/>
              <a:gd name="connsiteY53" fmla="*/ 552237 h 3595821"/>
              <a:gd name="connsiteX54" fmla="*/ 9385699 w 9906000"/>
              <a:gd name="connsiteY54" fmla="*/ 555949 h 3595821"/>
              <a:gd name="connsiteX55" fmla="*/ 9393147 w 9906000"/>
              <a:gd name="connsiteY55" fmla="*/ 558177 h 3595821"/>
              <a:gd name="connsiteX56" fmla="*/ 9401340 w 9906000"/>
              <a:gd name="connsiteY56" fmla="*/ 559167 h 3595821"/>
              <a:gd name="connsiteX57" fmla="*/ 9409037 w 9906000"/>
              <a:gd name="connsiteY57" fmla="*/ 558177 h 3595821"/>
              <a:gd name="connsiteX58" fmla="*/ 9416734 w 9906000"/>
              <a:gd name="connsiteY58" fmla="*/ 555949 h 3595821"/>
              <a:gd name="connsiteX59" fmla="*/ 9423437 w 9906000"/>
              <a:gd name="connsiteY59" fmla="*/ 552237 h 3595821"/>
              <a:gd name="connsiteX60" fmla="*/ 9429396 w 9906000"/>
              <a:gd name="connsiteY60" fmla="*/ 547534 h 3595821"/>
              <a:gd name="connsiteX61" fmla="*/ 9434113 w 9906000"/>
              <a:gd name="connsiteY61" fmla="*/ 541594 h 3595821"/>
              <a:gd name="connsiteX62" fmla="*/ 9437838 w 9906000"/>
              <a:gd name="connsiteY62" fmla="*/ 534911 h 3595821"/>
              <a:gd name="connsiteX63" fmla="*/ 9440072 w 9906000"/>
              <a:gd name="connsiteY63" fmla="*/ 527486 h 3595821"/>
              <a:gd name="connsiteX64" fmla="*/ 9440817 w 9906000"/>
              <a:gd name="connsiteY64" fmla="*/ 519566 h 3595821"/>
              <a:gd name="connsiteX65" fmla="*/ 9440072 w 9906000"/>
              <a:gd name="connsiteY65" fmla="*/ 511398 h 3595821"/>
              <a:gd name="connsiteX66" fmla="*/ 9437838 w 9906000"/>
              <a:gd name="connsiteY66" fmla="*/ 504220 h 3595821"/>
              <a:gd name="connsiteX67" fmla="*/ 9434113 w 9906000"/>
              <a:gd name="connsiteY67" fmla="*/ 497290 h 3595821"/>
              <a:gd name="connsiteX68" fmla="*/ 9429396 w 9906000"/>
              <a:gd name="connsiteY68" fmla="*/ 491597 h 3595821"/>
              <a:gd name="connsiteX69" fmla="*/ 9423437 w 9906000"/>
              <a:gd name="connsiteY69" fmla="*/ 486400 h 3595821"/>
              <a:gd name="connsiteX70" fmla="*/ 9416734 w 9906000"/>
              <a:gd name="connsiteY70" fmla="*/ 482935 h 3595821"/>
              <a:gd name="connsiteX71" fmla="*/ 9409037 w 9906000"/>
              <a:gd name="connsiteY71" fmla="*/ 480707 h 3595821"/>
              <a:gd name="connsiteX72" fmla="*/ 8934012 w 9906000"/>
              <a:gd name="connsiteY72" fmla="*/ 336361 h 3595821"/>
              <a:gd name="connsiteX73" fmla="*/ 8906887 w 9906000"/>
              <a:gd name="connsiteY73" fmla="*/ 337101 h 3595821"/>
              <a:gd name="connsiteX74" fmla="*/ 8880255 w 9906000"/>
              <a:gd name="connsiteY74" fmla="*/ 339568 h 3595821"/>
              <a:gd name="connsiteX75" fmla="*/ 8854362 w 9906000"/>
              <a:gd name="connsiteY75" fmla="*/ 344254 h 3595821"/>
              <a:gd name="connsiteX76" fmla="*/ 8828963 w 9906000"/>
              <a:gd name="connsiteY76" fmla="*/ 349681 h 3595821"/>
              <a:gd name="connsiteX77" fmla="*/ 8804058 w 9906000"/>
              <a:gd name="connsiteY77" fmla="*/ 357328 h 3595821"/>
              <a:gd name="connsiteX78" fmla="*/ 8780138 w 9906000"/>
              <a:gd name="connsiteY78" fmla="*/ 366208 h 3595821"/>
              <a:gd name="connsiteX79" fmla="*/ 8756712 w 9906000"/>
              <a:gd name="connsiteY79" fmla="*/ 376568 h 3595821"/>
              <a:gd name="connsiteX80" fmla="*/ 8734272 w 9906000"/>
              <a:gd name="connsiteY80" fmla="*/ 388408 h 3595821"/>
              <a:gd name="connsiteX81" fmla="*/ 8712572 w 9906000"/>
              <a:gd name="connsiteY81" fmla="*/ 401234 h 3595821"/>
              <a:gd name="connsiteX82" fmla="*/ 8691611 w 9906000"/>
              <a:gd name="connsiteY82" fmla="*/ 415294 h 3595821"/>
              <a:gd name="connsiteX83" fmla="*/ 8671637 w 9906000"/>
              <a:gd name="connsiteY83" fmla="*/ 431081 h 3595821"/>
              <a:gd name="connsiteX84" fmla="*/ 8652896 w 9906000"/>
              <a:gd name="connsiteY84" fmla="*/ 447854 h 3595821"/>
              <a:gd name="connsiteX85" fmla="*/ 8635142 w 9906000"/>
              <a:gd name="connsiteY85" fmla="*/ 465614 h 3595821"/>
              <a:gd name="connsiteX86" fmla="*/ 8618373 w 9906000"/>
              <a:gd name="connsiteY86" fmla="*/ 484361 h 3595821"/>
              <a:gd name="connsiteX87" fmla="*/ 8602838 w 9906000"/>
              <a:gd name="connsiteY87" fmla="*/ 504341 h 3595821"/>
              <a:gd name="connsiteX88" fmla="*/ 8588536 w 9906000"/>
              <a:gd name="connsiteY88" fmla="*/ 525061 h 3595821"/>
              <a:gd name="connsiteX89" fmla="*/ 8575466 w 9906000"/>
              <a:gd name="connsiteY89" fmla="*/ 547014 h 3595821"/>
              <a:gd name="connsiteX90" fmla="*/ 8563877 w 9906000"/>
              <a:gd name="connsiteY90" fmla="*/ 569707 h 3595821"/>
              <a:gd name="connsiteX91" fmla="*/ 8553520 w 9906000"/>
              <a:gd name="connsiteY91" fmla="*/ 592894 h 3595821"/>
              <a:gd name="connsiteX92" fmla="*/ 8544642 w 9906000"/>
              <a:gd name="connsiteY92" fmla="*/ 616820 h 3595821"/>
              <a:gd name="connsiteX93" fmla="*/ 8536998 w 9906000"/>
              <a:gd name="connsiteY93" fmla="*/ 641734 h 3595821"/>
              <a:gd name="connsiteX94" fmla="*/ 8531573 w 9906000"/>
              <a:gd name="connsiteY94" fmla="*/ 667140 h 3595821"/>
              <a:gd name="connsiteX95" fmla="*/ 8527134 w 9906000"/>
              <a:gd name="connsiteY95" fmla="*/ 693040 h 3595821"/>
              <a:gd name="connsiteX96" fmla="*/ 8524422 w 9906000"/>
              <a:gd name="connsiteY96" fmla="*/ 719680 h 3595821"/>
              <a:gd name="connsiteX97" fmla="*/ 8523682 w 9906000"/>
              <a:gd name="connsiteY97" fmla="*/ 746813 h 3595821"/>
              <a:gd name="connsiteX98" fmla="*/ 8524422 w 9906000"/>
              <a:gd name="connsiteY98" fmla="*/ 773453 h 3595821"/>
              <a:gd name="connsiteX99" fmla="*/ 8527134 w 9906000"/>
              <a:gd name="connsiteY99" fmla="*/ 800093 h 3595821"/>
              <a:gd name="connsiteX100" fmla="*/ 8531573 w 9906000"/>
              <a:gd name="connsiteY100" fmla="*/ 825993 h 3595821"/>
              <a:gd name="connsiteX101" fmla="*/ 8536998 w 9906000"/>
              <a:gd name="connsiteY101" fmla="*/ 851400 h 3595821"/>
              <a:gd name="connsiteX102" fmla="*/ 8544642 w 9906000"/>
              <a:gd name="connsiteY102" fmla="*/ 876313 h 3595821"/>
              <a:gd name="connsiteX103" fmla="*/ 8553520 w 9906000"/>
              <a:gd name="connsiteY103" fmla="*/ 900239 h 3595821"/>
              <a:gd name="connsiteX104" fmla="*/ 8563877 w 9906000"/>
              <a:gd name="connsiteY104" fmla="*/ 923919 h 3595821"/>
              <a:gd name="connsiteX105" fmla="*/ 8575466 w 9906000"/>
              <a:gd name="connsiteY105" fmla="*/ 946366 h 3595821"/>
              <a:gd name="connsiteX106" fmla="*/ 8588536 w 9906000"/>
              <a:gd name="connsiteY106" fmla="*/ 967826 h 3595821"/>
              <a:gd name="connsiteX107" fmla="*/ 8602838 w 9906000"/>
              <a:gd name="connsiteY107" fmla="*/ 988793 h 3595821"/>
              <a:gd name="connsiteX108" fmla="*/ 8618373 w 9906000"/>
              <a:gd name="connsiteY108" fmla="*/ 1008773 h 3595821"/>
              <a:gd name="connsiteX109" fmla="*/ 8635142 w 9906000"/>
              <a:gd name="connsiteY109" fmla="*/ 1027766 h 3595821"/>
              <a:gd name="connsiteX110" fmla="*/ 8652896 w 9906000"/>
              <a:gd name="connsiteY110" fmla="*/ 1045526 h 3595821"/>
              <a:gd name="connsiteX111" fmla="*/ 8671637 w 9906000"/>
              <a:gd name="connsiteY111" fmla="*/ 1062052 h 3595821"/>
              <a:gd name="connsiteX112" fmla="*/ 8691611 w 9906000"/>
              <a:gd name="connsiteY112" fmla="*/ 1077839 h 3595821"/>
              <a:gd name="connsiteX113" fmla="*/ 8712572 w 9906000"/>
              <a:gd name="connsiteY113" fmla="*/ 1091899 h 3595821"/>
              <a:gd name="connsiteX114" fmla="*/ 8734272 w 9906000"/>
              <a:gd name="connsiteY114" fmla="*/ 1104972 h 3595821"/>
              <a:gd name="connsiteX115" fmla="*/ 8756712 w 9906000"/>
              <a:gd name="connsiteY115" fmla="*/ 1116812 h 3595821"/>
              <a:gd name="connsiteX116" fmla="*/ 8780138 w 9906000"/>
              <a:gd name="connsiteY116" fmla="*/ 1127172 h 3595821"/>
              <a:gd name="connsiteX117" fmla="*/ 8804058 w 9906000"/>
              <a:gd name="connsiteY117" fmla="*/ 1135805 h 3595821"/>
              <a:gd name="connsiteX118" fmla="*/ 8828963 w 9906000"/>
              <a:gd name="connsiteY118" fmla="*/ 1143452 h 3595821"/>
              <a:gd name="connsiteX119" fmla="*/ 8854362 w 9906000"/>
              <a:gd name="connsiteY119" fmla="*/ 1149125 h 3595821"/>
              <a:gd name="connsiteX120" fmla="*/ 8880255 w 9906000"/>
              <a:gd name="connsiteY120" fmla="*/ 1153319 h 3595821"/>
              <a:gd name="connsiteX121" fmla="*/ 8906887 w 9906000"/>
              <a:gd name="connsiteY121" fmla="*/ 1156032 h 3595821"/>
              <a:gd name="connsiteX122" fmla="*/ 8934012 w 9906000"/>
              <a:gd name="connsiteY122" fmla="*/ 1156772 h 3595821"/>
              <a:gd name="connsiteX123" fmla="*/ 8960890 w 9906000"/>
              <a:gd name="connsiteY123" fmla="*/ 1156032 h 3595821"/>
              <a:gd name="connsiteX124" fmla="*/ 8987276 w 9906000"/>
              <a:gd name="connsiteY124" fmla="*/ 1153319 h 3595821"/>
              <a:gd name="connsiteX125" fmla="*/ 9013415 w 9906000"/>
              <a:gd name="connsiteY125" fmla="*/ 1149125 h 3595821"/>
              <a:gd name="connsiteX126" fmla="*/ 9038814 w 9906000"/>
              <a:gd name="connsiteY126" fmla="*/ 1143452 h 3595821"/>
              <a:gd name="connsiteX127" fmla="*/ 9063719 w 9906000"/>
              <a:gd name="connsiteY127" fmla="*/ 1135805 h 3595821"/>
              <a:gd name="connsiteX128" fmla="*/ 9087639 w 9906000"/>
              <a:gd name="connsiteY128" fmla="*/ 1127172 h 3595821"/>
              <a:gd name="connsiteX129" fmla="*/ 9111065 w 9906000"/>
              <a:gd name="connsiteY129" fmla="*/ 1116812 h 3595821"/>
              <a:gd name="connsiteX130" fmla="*/ 9133752 w 9906000"/>
              <a:gd name="connsiteY130" fmla="*/ 1104972 h 3595821"/>
              <a:gd name="connsiteX131" fmla="*/ 9155205 w 9906000"/>
              <a:gd name="connsiteY131" fmla="*/ 1091899 h 3595821"/>
              <a:gd name="connsiteX132" fmla="*/ 9176166 w 9906000"/>
              <a:gd name="connsiteY132" fmla="*/ 1077839 h 3595821"/>
              <a:gd name="connsiteX133" fmla="*/ 9195893 w 9906000"/>
              <a:gd name="connsiteY133" fmla="*/ 1062052 h 3595821"/>
              <a:gd name="connsiteX134" fmla="*/ 9215127 w 9906000"/>
              <a:gd name="connsiteY134" fmla="*/ 1045526 h 3595821"/>
              <a:gd name="connsiteX135" fmla="*/ 9232882 w 9906000"/>
              <a:gd name="connsiteY135" fmla="*/ 1027766 h 3595821"/>
              <a:gd name="connsiteX136" fmla="*/ 9249404 w 9906000"/>
              <a:gd name="connsiteY136" fmla="*/ 1008773 h 3595821"/>
              <a:gd name="connsiteX137" fmla="*/ 9264939 w 9906000"/>
              <a:gd name="connsiteY137" fmla="*/ 988793 h 3595821"/>
              <a:gd name="connsiteX138" fmla="*/ 9279241 w 9906000"/>
              <a:gd name="connsiteY138" fmla="*/ 967826 h 3595821"/>
              <a:gd name="connsiteX139" fmla="*/ 9292311 w 9906000"/>
              <a:gd name="connsiteY139" fmla="*/ 946366 h 3595821"/>
              <a:gd name="connsiteX140" fmla="*/ 9304147 w 9906000"/>
              <a:gd name="connsiteY140" fmla="*/ 923919 h 3595821"/>
              <a:gd name="connsiteX141" fmla="*/ 9314504 w 9906000"/>
              <a:gd name="connsiteY141" fmla="*/ 900239 h 3595821"/>
              <a:gd name="connsiteX142" fmla="*/ 9323135 w 9906000"/>
              <a:gd name="connsiteY142" fmla="*/ 876313 h 3595821"/>
              <a:gd name="connsiteX143" fmla="*/ 9330532 w 9906000"/>
              <a:gd name="connsiteY143" fmla="*/ 851400 h 3595821"/>
              <a:gd name="connsiteX144" fmla="*/ 9336451 w 9906000"/>
              <a:gd name="connsiteY144" fmla="*/ 825993 h 3595821"/>
              <a:gd name="connsiteX145" fmla="*/ 9340643 w 9906000"/>
              <a:gd name="connsiteY145" fmla="*/ 800093 h 3595821"/>
              <a:gd name="connsiteX146" fmla="*/ 9343109 w 9906000"/>
              <a:gd name="connsiteY146" fmla="*/ 773453 h 3595821"/>
              <a:gd name="connsiteX147" fmla="*/ 9344095 w 9906000"/>
              <a:gd name="connsiteY147" fmla="*/ 746813 h 3595821"/>
              <a:gd name="connsiteX148" fmla="*/ 9343848 w 9906000"/>
              <a:gd name="connsiteY148" fmla="*/ 726833 h 3595821"/>
              <a:gd name="connsiteX149" fmla="*/ 9342122 w 9906000"/>
              <a:gd name="connsiteY149" fmla="*/ 707347 h 3595821"/>
              <a:gd name="connsiteX150" fmla="*/ 9335218 w 9906000"/>
              <a:gd name="connsiteY150" fmla="*/ 708087 h 3595821"/>
              <a:gd name="connsiteX151" fmla="*/ 9327820 w 9906000"/>
              <a:gd name="connsiteY151" fmla="*/ 708333 h 3595821"/>
              <a:gd name="connsiteX152" fmla="*/ 9316477 w 9906000"/>
              <a:gd name="connsiteY152" fmla="*/ 707593 h 3595821"/>
              <a:gd name="connsiteX153" fmla="*/ 9305627 w 9906000"/>
              <a:gd name="connsiteY153" fmla="*/ 705373 h 3595821"/>
              <a:gd name="connsiteX154" fmla="*/ 9295516 w 9906000"/>
              <a:gd name="connsiteY154" fmla="*/ 701427 h 3595821"/>
              <a:gd name="connsiteX155" fmla="*/ 9285899 w 9906000"/>
              <a:gd name="connsiteY155" fmla="*/ 696247 h 3595821"/>
              <a:gd name="connsiteX156" fmla="*/ 9277268 w 9906000"/>
              <a:gd name="connsiteY156" fmla="*/ 689587 h 3595821"/>
              <a:gd name="connsiteX157" fmla="*/ 9269871 w 9906000"/>
              <a:gd name="connsiteY157" fmla="*/ 682187 h 3595821"/>
              <a:gd name="connsiteX158" fmla="*/ 9263213 w 9906000"/>
              <a:gd name="connsiteY158" fmla="*/ 673553 h 3595821"/>
              <a:gd name="connsiteX159" fmla="*/ 9258034 w 9906000"/>
              <a:gd name="connsiteY159" fmla="*/ 663933 h 3595821"/>
              <a:gd name="connsiteX160" fmla="*/ 9254089 w 9906000"/>
              <a:gd name="connsiteY160" fmla="*/ 653574 h 3595821"/>
              <a:gd name="connsiteX161" fmla="*/ 9251869 w 9906000"/>
              <a:gd name="connsiteY161" fmla="*/ 642967 h 3595821"/>
              <a:gd name="connsiteX162" fmla="*/ 9251130 w 9906000"/>
              <a:gd name="connsiteY162" fmla="*/ 631620 h 3595821"/>
              <a:gd name="connsiteX163" fmla="*/ 9251623 w 9906000"/>
              <a:gd name="connsiteY163" fmla="*/ 621014 h 3595821"/>
              <a:gd name="connsiteX164" fmla="*/ 9253842 w 9906000"/>
              <a:gd name="connsiteY164" fmla="*/ 610654 h 3595821"/>
              <a:gd name="connsiteX165" fmla="*/ 9257294 w 9906000"/>
              <a:gd name="connsiteY165" fmla="*/ 601034 h 3595821"/>
              <a:gd name="connsiteX166" fmla="*/ 9261733 w 9906000"/>
              <a:gd name="connsiteY166" fmla="*/ 592154 h 3595821"/>
              <a:gd name="connsiteX167" fmla="*/ 9267405 w 9906000"/>
              <a:gd name="connsiteY167" fmla="*/ 583767 h 3595821"/>
              <a:gd name="connsiteX168" fmla="*/ 9274309 w 9906000"/>
              <a:gd name="connsiteY168" fmla="*/ 576614 h 3595821"/>
              <a:gd name="connsiteX169" fmla="*/ 9281707 w 9906000"/>
              <a:gd name="connsiteY169" fmla="*/ 569954 h 3595821"/>
              <a:gd name="connsiteX170" fmla="*/ 9290091 w 9906000"/>
              <a:gd name="connsiteY170" fmla="*/ 564527 h 3595821"/>
              <a:gd name="connsiteX171" fmla="*/ 9299462 w 9906000"/>
              <a:gd name="connsiteY171" fmla="*/ 560087 h 3595821"/>
              <a:gd name="connsiteX172" fmla="*/ 9291324 w 9906000"/>
              <a:gd name="connsiteY172" fmla="*/ 545287 h 3595821"/>
              <a:gd name="connsiteX173" fmla="*/ 9282940 w 9906000"/>
              <a:gd name="connsiteY173" fmla="*/ 530734 h 3595821"/>
              <a:gd name="connsiteX174" fmla="*/ 9273076 w 9906000"/>
              <a:gd name="connsiteY174" fmla="*/ 532214 h 3595821"/>
              <a:gd name="connsiteX175" fmla="*/ 9262966 w 9906000"/>
              <a:gd name="connsiteY175" fmla="*/ 532707 h 3595821"/>
              <a:gd name="connsiteX176" fmla="*/ 9249650 w 9906000"/>
              <a:gd name="connsiteY176" fmla="*/ 531967 h 3595821"/>
              <a:gd name="connsiteX177" fmla="*/ 9236581 w 9906000"/>
              <a:gd name="connsiteY177" fmla="*/ 529747 h 3595821"/>
              <a:gd name="connsiteX178" fmla="*/ 9224251 w 9906000"/>
              <a:gd name="connsiteY178" fmla="*/ 526047 h 3595821"/>
              <a:gd name="connsiteX179" fmla="*/ 9212415 w 9906000"/>
              <a:gd name="connsiteY179" fmla="*/ 520867 h 3595821"/>
              <a:gd name="connsiteX180" fmla="*/ 9201318 w 9906000"/>
              <a:gd name="connsiteY180" fmla="*/ 514454 h 3595821"/>
              <a:gd name="connsiteX181" fmla="*/ 9190961 w 9906000"/>
              <a:gd name="connsiteY181" fmla="*/ 507301 h 3595821"/>
              <a:gd name="connsiteX182" fmla="*/ 9181591 w 9906000"/>
              <a:gd name="connsiteY182" fmla="*/ 498914 h 3595821"/>
              <a:gd name="connsiteX183" fmla="*/ 9173206 w 9906000"/>
              <a:gd name="connsiteY183" fmla="*/ 489294 h 3595821"/>
              <a:gd name="connsiteX184" fmla="*/ 9165809 w 9906000"/>
              <a:gd name="connsiteY184" fmla="*/ 479181 h 3595821"/>
              <a:gd name="connsiteX185" fmla="*/ 9159644 w 9906000"/>
              <a:gd name="connsiteY185" fmla="*/ 468081 h 3595821"/>
              <a:gd name="connsiteX186" fmla="*/ 9154712 w 9906000"/>
              <a:gd name="connsiteY186" fmla="*/ 456241 h 3595821"/>
              <a:gd name="connsiteX187" fmla="*/ 9151013 w 9906000"/>
              <a:gd name="connsiteY187" fmla="*/ 443907 h 3595821"/>
              <a:gd name="connsiteX188" fmla="*/ 9148794 w 9906000"/>
              <a:gd name="connsiteY188" fmla="*/ 431081 h 3595821"/>
              <a:gd name="connsiteX189" fmla="*/ 9148054 w 9906000"/>
              <a:gd name="connsiteY189" fmla="*/ 417268 h 3595821"/>
              <a:gd name="connsiteX190" fmla="*/ 9148301 w 9906000"/>
              <a:gd name="connsiteY190" fmla="*/ 407401 h 3595821"/>
              <a:gd name="connsiteX191" fmla="*/ 9149534 w 9906000"/>
              <a:gd name="connsiteY191" fmla="*/ 397534 h 3595821"/>
              <a:gd name="connsiteX192" fmla="*/ 9128327 w 9906000"/>
              <a:gd name="connsiteY192" fmla="*/ 385201 h 3595821"/>
              <a:gd name="connsiteX193" fmla="*/ 9106380 w 9906000"/>
              <a:gd name="connsiteY193" fmla="*/ 374348 h 3595821"/>
              <a:gd name="connsiteX194" fmla="*/ 9083447 w 9906000"/>
              <a:gd name="connsiteY194" fmla="*/ 364481 h 3595821"/>
              <a:gd name="connsiteX195" fmla="*/ 9060020 w 9906000"/>
              <a:gd name="connsiteY195" fmla="*/ 356094 h 3595821"/>
              <a:gd name="connsiteX196" fmla="*/ 9035608 w 9906000"/>
              <a:gd name="connsiteY196" fmla="*/ 349188 h 3595821"/>
              <a:gd name="connsiteX197" fmla="*/ 9011195 w 9906000"/>
              <a:gd name="connsiteY197" fmla="*/ 343514 h 3595821"/>
              <a:gd name="connsiteX198" fmla="*/ 8986043 w 9906000"/>
              <a:gd name="connsiteY198" fmla="*/ 339568 h 3595821"/>
              <a:gd name="connsiteX199" fmla="*/ 8959904 w 9906000"/>
              <a:gd name="connsiteY199" fmla="*/ 337101 h 3595821"/>
              <a:gd name="connsiteX200" fmla="*/ 9262793 w 9906000"/>
              <a:gd name="connsiteY200" fmla="*/ 319089 h 3595821"/>
              <a:gd name="connsiteX201" fmla="*/ 9250440 w 9906000"/>
              <a:gd name="connsiteY201" fmla="*/ 319584 h 3595821"/>
              <a:gd name="connsiteX202" fmla="*/ 9238582 w 9906000"/>
              <a:gd name="connsiteY202" fmla="*/ 321810 h 3595821"/>
              <a:gd name="connsiteX203" fmla="*/ 9227218 w 9906000"/>
              <a:gd name="connsiteY203" fmla="*/ 325520 h 3595821"/>
              <a:gd name="connsiteX204" fmla="*/ 9216595 w 9906000"/>
              <a:gd name="connsiteY204" fmla="*/ 330468 h 3595821"/>
              <a:gd name="connsiteX205" fmla="*/ 9206713 w 9906000"/>
              <a:gd name="connsiteY205" fmla="*/ 336652 h 3595821"/>
              <a:gd name="connsiteX206" fmla="*/ 9197325 w 9906000"/>
              <a:gd name="connsiteY206" fmla="*/ 343578 h 3595821"/>
              <a:gd name="connsiteX207" fmla="*/ 9189172 w 9906000"/>
              <a:gd name="connsiteY207" fmla="*/ 351988 h 3595821"/>
              <a:gd name="connsiteX208" fmla="*/ 9182008 w 9906000"/>
              <a:gd name="connsiteY208" fmla="*/ 361140 h 3595821"/>
              <a:gd name="connsiteX209" fmla="*/ 9175831 w 9906000"/>
              <a:gd name="connsiteY209" fmla="*/ 371035 h 3595821"/>
              <a:gd name="connsiteX210" fmla="*/ 9171137 w 9906000"/>
              <a:gd name="connsiteY210" fmla="*/ 381671 h 3595821"/>
              <a:gd name="connsiteX211" fmla="*/ 9167432 w 9906000"/>
              <a:gd name="connsiteY211" fmla="*/ 393297 h 3595821"/>
              <a:gd name="connsiteX212" fmla="*/ 9165208 w 9906000"/>
              <a:gd name="connsiteY212" fmla="*/ 404923 h 3595821"/>
              <a:gd name="connsiteX213" fmla="*/ 9164467 w 9906000"/>
              <a:gd name="connsiteY213" fmla="*/ 417291 h 3595821"/>
              <a:gd name="connsiteX214" fmla="*/ 9165208 w 9906000"/>
              <a:gd name="connsiteY214" fmla="*/ 429907 h 3595821"/>
              <a:gd name="connsiteX215" fmla="*/ 9167432 w 9906000"/>
              <a:gd name="connsiteY215" fmla="*/ 441780 h 3595821"/>
              <a:gd name="connsiteX216" fmla="*/ 9171137 w 9906000"/>
              <a:gd name="connsiteY216" fmla="*/ 453158 h 3595821"/>
              <a:gd name="connsiteX217" fmla="*/ 9175831 w 9906000"/>
              <a:gd name="connsiteY217" fmla="*/ 463795 h 3595821"/>
              <a:gd name="connsiteX218" fmla="*/ 9182008 w 9906000"/>
              <a:gd name="connsiteY218" fmla="*/ 473689 h 3595821"/>
              <a:gd name="connsiteX219" fmla="*/ 9189172 w 9906000"/>
              <a:gd name="connsiteY219" fmla="*/ 482842 h 3595821"/>
              <a:gd name="connsiteX220" fmla="*/ 9197325 w 9906000"/>
              <a:gd name="connsiteY220" fmla="*/ 491005 h 3595821"/>
              <a:gd name="connsiteX221" fmla="*/ 9206713 w 9906000"/>
              <a:gd name="connsiteY221" fmla="*/ 498425 h 3595821"/>
              <a:gd name="connsiteX222" fmla="*/ 9216595 w 9906000"/>
              <a:gd name="connsiteY222" fmla="*/ 504609 h 3595821"/>
              <a:gd name="connsiteX223" fmla="*/ 9227218 w 9906000"/>
              <a:gd name="connsiteY223" fmla="*/ 509557 h 3595821"/>
              <a:gd name="connsiteX224" fmla="*/ 9238582 w 9906000"/>
              <a:gd name="connsiteY224" fmla="*/ 512772 h 3595821"/>
              <a:gd name="connsiteX225" fmla="*/ 9250440 w 9906000"/>
              <a:gd name="connsiteY225" fmla="*/ 515246 h 3595821"/>
              <a:gd name="connsiteX226" fmla="*/ 9262793 w 9906000"/>
              <a:gd name="connsiteY226" fmla="*/ 515988 h 3595821"/>
              <a:gd name="connsiteX227" fmla="*/ 9275145 w 9906000"/>
              <a:gd name="connsiteY227" fmla="*/ 515246 h 3595821"/>
              <a:gd name="connsiteX228" fmla="*/ 9287251 w 9906000"/>
              <a:gd name="connsiteY228" fmla="*/ 512772 h 3595821"/>
              <a:gd name="connsiteX229" fmla="*/ 9298368 w 9906000"/>
              <a:gd name="connsiteY229" fmla="*/ 509557 h 3595821"/>
              <a:gd name="connsiteX230" fmla="*/ 9308991 w 9906000"/>
              <a:gd name="connsiteY230" fmla="*/ 504609 h 3595821"/>
              <a:gd name="connsiteX231" fmla="*/ 9319120 w 9906000"/>
              <a:gd name="connsiteY231" fmla="*/ 498425 h 3595821"/>
              <a:gd name="connsiteX232" fmla="*/ 9328261 w 9906000"/>
              <a:gd name="connsiteY232" fmla="*/ 491005 h 3595821"/>
              <a:gd name="connsiteX233" fmla="*/ 9336414 w 9906000"/>
              <a:gd name="connsiteY233" fmla="*/ 482842 h 3595821"/>
              <a:gd name="connsiteX234" fmla="*/ 9343825 w 9906000"/>
              <a:gd name="connsiteY234" fmla="*/ 473689 h 3595821"/>
              <a:gd name="connsiteX235" fmla="*/ 9349508 w 9906000"/>
              <a:gd name="connsiteY235" fmla="*/ 463795 h 3595821"/>
              <a:gd name="connsiteX236" fmla="*/ 9354696 w 9906000"/>
              <a:gd name="connsiteY236" fmla="*/ 453158 h 3595821"/>
              <a:gd name="connsiteX237" fmla="*/ 9358401 w 9906000"/>
              <a:gd name="connsiteY237" fmla="*/ 441780 h 3595821"/>
              <a:gd name="connsiteX238" fmla="*/ 9360625 w 9906000"/>
              <a:gd name="connsiteY238" fmla="*/ 429907 h 3595821"/>
              <a:gd name="connsiteX239" fmla="*/ 9361366 w 9906000"/>
              <a:gd name="connsiteY239" fmla="*/ 417291 h 3595821"/>
              <a:gd name="connsiteX240" fmla="*/ 9360625 w 9906000"/>
              <a:gd name="connsiteY240" fmla="*/ 404923 h 3595821"/>
              <a:gd name="connsiteX241" fmla="*/ 9358401 w 9906000"/>
              <a:gd name="connsiteY241" fmla="*/ 393297 h 3595821"/>
              <a:gd name="connsiteX242" fmla="*/ 9354696 w 9906000"/>
              <a:gd name="connsiteY242" fmla="*/ 381671 h 3595821"/>
              <a:gd name="connsiteX243" fmla="*/ 9349508 w 9906000"/>
              <a:gd name="connsiteY243" fmla="*/ 371035 h 3595821"/>
              <a:gd name="connsiteX244" fmla="*/ 9343825 w 9906000"/>
              <a:gd name="connsiteY244" fmla="*/ 361140 h 3595821"/>
              <a:gd name="connsiteX245" fmla="*/ 9336414 w 9906000"/>
              <a:gd name="connsiteY245" fmla="*/ 351988 h 3595821"/>
              <a:gd name="connsiteX246" fmla="*/ 9328261 w 9906000"/>
              <a:gd name="connsiteY246" fmla="*/ 343578 h 3595821"/>
              <a:gd name="connsiteX247" fmla="*/ 9319120 w 9906000"/>
              <a:gd name="connsiteY247" fmla="*/ 336652 h 3595821"/>
              <a:gd name="connsiteX248" fmla="*/ 9308991 w 9906000"/>
              <a:gd name="connsiteY248" fmla="*/ 330468 h 3595821"/>
              <a:gd name="connsiteX249" fmla="*/ 9298368 w 9906000"/>
              <a:gd name="connsiteY249" fmla="*/ 325520 h 3595821"/>
              <a:gd name="connsiteX250" fmla="*/ 9287251 w 9906000"/>
              <a:gd name="connsiteY250" fmla="*/ 321810 h 3595821"/>
              <a:gd name="connsiteX251" fmla="*/ 9275145 w 9906000"/>
              <a:gd name="connsiteY251" fmla="*/ 319584 h 3595821"/>
              <a:gd name="connsiteX252" fmla="*/ 0 w 9906000"/>
              <a:gd name="connsiteY252" fmla="*/ 0 h 3595821"/>
              <a:gd name="connsiteX253" fmla="*/ 9906000 w 9906000"/>
              <a:gd name="connsiteY253" fmla="*/ 0 h 3595821"/>
              <a:gd name="connsiteX254" fmla="*/ 9906000 w 9906000"/>
              <a:gd name="connsiteY254" fmla="*/ 3595821 h 3595821"/>
              <a:gd name="connsiteX255" fmla="*/ 9604208 w 9906000"/>
              <a:gd name="connsiteY255" fmla="*/ 3595821 h 3595821"/>
              <a:gd name="connsiteX256" fmla="*/ 9604208 w 9906000"/>
              <a:gd name="connsiteY256" fmla="*/ 3274542 h 3595821"/>
              <a:gd name="connsiteX257" fmla="*/ 321276 w 9906000"/>
              <a:gd name="connsiteY257" fmla="*/ 3274542 h 3595821"/>
              <a:gd name="connsiteX258" fmla="*/ 321276 w 9906000"/>
              <a:gd name="connsiteY258" fmla="*/ 3595821 h 3595821"/>
              <a:gd name="connsiteX259" fmla="*/ 0 w 9906000"/>
              <a:gd name="connsiteY259" fmla="*/ 3595821 h 359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Lst>
            <a:rect l="l" t="t" r="r" b="b"/>
            <a:pathLst>
              <a:path w="9906000" h="3595821">
                <a:moveTo>
                  <a:pt x="9328426" y="571257"/>
                </a:moveTo>
                <a:lnTo>
                  <a:pt x="9318454" y="571750"/>
                </a:lnTo>
                <a:lnTo>
                  <a:pt x="9309231" y="573966"/>
                </a:lnTo>
                <a:lnTo>
                  <a:pt x="9300506" y="577659"/>
                </a:lnTo>
                <a:lnTo>
                  <a:pt x="9292529" y="582584"/>
                </a:lnTo>
                <a:lnTo>
                  <a:pt x="9285549" y="588493"/>
                </a:lnTo>
                <a:lnTo>
                  <a:pt x="9279566" y="595388"/>
                </a:lnTo>
                <a:lnTo>
                  <a:pt x="9274830" y="603267"/>
                </a:lnTo>
                <a:lnTo>
                  <a:pt x="9271090" y="611885"/>
                </a:lnTo>
                <a:lnTo>
                  <a:pt x="9268598" y="620996"/>
                </a:lnTo>
                <a:lnTo>
                  <a:pt x="9268099" y="630845"/>
                </a:lnTo>
                <a:lnTo>
                  <a:pt x="9268598" y="640694"/>
                </a:lnTo>
                <a:lnTo>
                  <a:pt x="9271090" y="649805"/>
                </a:lnTo>
                <a:lnTo>
                  <a:pt x="9274830" y="658177"/>
                </a:lnTo>
                <a:lnTo>
                  <a:pt x="9279566" y="666056"/>
                </a:lnTo>
                <a:lnTo>
                  <a:pt x="9285549" y="672951"/>
                </a:lnTo>
                <a:lnTo>
                  <a:pt x="9292529" y="679106"/>
                </a:lnTo>
                <a:lnTo>
                  <a:pt x="9300506" y="683785"/>
                </a:lnTo>
                <a:lnTo>
                  <a:pt x="9309231" y="687478"/>
                </a:lnTo>
                <a:lnTo>
                  <a:pt x="9318454" y="689694"/>
                </a:lnTo>
                <a:lnTo>
                  <a:pt x="9328426" y="690433"/>
                </a:lnTo>
                <a:lnTo>
                  <a:pt x="9338397" y="689694"/>
                </a:lnTo>
                <a:lnTo>
                  <a:pt x="9347621" y="687478"/>
                </a:lnTo>
                <a:lnTo>
                  <a:pt x="9356096" y="683785"/>
                </a:lnTo>
                <a:lnTo>
                  <a:pt x="9364323" y="679106"/>
                </a:lnTo>
                <a:lnTo>
                  <a:pt x="9371303" y="672951"/>
                </a:lnTo>
                <a:lnTo>
                  <a:pt x="9377286" y="666056"/>
                </a:lnTo>
                <a:lnTo>
                  <a:pt x="9382022" y="658177"/>
                </a:lnTo>
                <a:lnTo>
                  <a:pt x="9385761" y="649805"/>
                </a:lnTo>
                <a:lnTo>
                  <a:pt x="9388005" y="640694"/>
                </a:lnTo>
                <a:lnTo>
                  <a:pt x="9389002" y="630845"/>
                </a:lnTo>
                <a:lnTo>
                  <a:pt x="9388005" y="620996"/>
                </a:lnTo>
                <a:lnTo>
                  <a:pt x="9385761" y="611885"/>
                </a:lnTo>
                <a:lnTo>
                  <a:pt x="9382022" y="603267"/>
                </a:lnTo>
                <a:lnTo>
                  <a:pt x="9377286" y="595388"/>
                </a:lnTo>
                <a:lnTo>
                  <a:pt x="9371303" y="588493"/>
                </a:lnTo>
                <a:lnTo>
                  <a:pt x="9364323" y="582584"/>
                </a:lnTo>
                <a:lnTo>
                  <a:pt x="9356096" y="577659"/>
                </a:lnTo>
                <a:lnTo>
                  <a:pt x="9347621" y="573966"/>
                </a:lnTo>
                <a:lnTo>
                  <a:pt x="9338397" y="571750"/>
                </a:lnTo>
                <a:close/>
                <a:moveTo>
                  <a:pt x="9401340" y="479717"/>
                </a:moveTo>
                <a:lnTo>
                  <a:pt x="9393147" y="480707"/>
                </a:lnTo>
                <a:lnTo>
                  <a:pt x="9385699" y="482935"/>
                </a:lnTo>
                <a:lnTo>
                  <a:pt x="9378747" y="486400"/>
                </a:lnTo>
                <a:lnTo>
                  <a:pt x="9373036" y="491597"/>
                </a:lnTo>
                <a:lnTo>
                  <a:pt x="9368071" y="497290"/>
                </a:lnTo>
                <a:lnTo>
                  <a:pt x="9364346" y="504220"/>
                </a:lnTo>
                <a:lnTo>
                  <a:pt x="9362112" y="511398"/>
                </a:lnTo>
                <a:lnTo>
                  <a:pt x="9361367" y="519566"/>
                </a:lnTo>
                <a:lnTo>
                  <a:pt x="9362112" y="527486"/>
                </a:lnTo>
                <a:lnTo>
                  <a:pt x="9364346" y="534911"/>
                </a:lnTo>
                <a:lnTo>
                  <a:pt x="9368071" y="541594"/>
                </a:lnTo>
                <a:lnTo>
                  <a:pt x="9373036" y="547534"/>
                </a:lnTo>
                <a:lnTo>
                  <a:pt x="9378747" y="552237"/>
                </a:lnTo>
                <a:lnTo>
                  <a:pt x="9385699" y="555949"/>
                </a:lnTo>
                <a:lnTo>
                  <a:pt x="9393147" y="558177"/>
                </a:lnTo>
                <a:lnTo>
                  <a:pt x="9401340" y="559167"/>
                </a:lnTo>
                <a:lnTo>
                  <a:pt x="9409037" y="558177"/>
                </a:lnTo>
                <a:lnTo>
                  <a:pt x="9416734" y="555949"/>
                </a:lnTo>
                <a:lnTo>
                  <a:pt x="9423437" y="552237"/>
                </a:lnTo>
                <a:lnTo>
                  <a:pt x="9429396" y="547534"/>
                </a:lnTo>
                <a:lnTo>
                  <a:pt x="9434113" y="541594"/>
                </a:lnTo>
                <a:lnTo>
                  <a:pt x="9437838" y="534911"/>
                </a:lnTo>
                <a:lnTo>
                  <a:pt x="9440072" y="527486"/>
                </a:lnTo>
                <a:lnTo>
                  <a:pt x="9440817" y="519566"/>
                </a:lnTo>
                <a:lnTo>
                  <a:pt x="9440072" y="511398"/>
                </a:lnTo>
                <a:lnTo>
                  <a:pt x="9437838" y="504220"/>
                </a:lnTo>
                <a:lnTo>
                  <a:pt x="9434113" y="497290"/>
                </a:lnTo>
                <a:lnTo>
                  <a:pt x="9429396" y="491597"/>
                </a:lnTo>
                <a:lnTo>
                  <a:pt x="9423437" y="486400"/>
                </a:lnTo>
                <a:lnTo>
                  <a:pt x="9416734" y="482935"/>
                </a:lnTo>
                <a:lnTo>
                  <a:pt x="9409037" y="480707"/>
                </a:lnTo>
                <a:close/>
                <a:moveTo>
                  <a:pt x="8934012" y="336361"/>
                </a:moveTo>
                <a:lnTo>
                  <a:pt x="8906887" y="337101"/>
                </a:lnTo>
                <a:lnTo>
                  <a:pt x="8880255" y="339568"/>
                </a:lnTo>
                <a:lnTo>
                  <a:pt x="8854362" y="344254"/>
                </a:lnTo>
                <a:lnTo>
                  <a:pt x="8828963" y="349681"/>
                </a:lnTo>
                <a:lnTo>
                  <a:pt x="8804058" y="357328"/>
                </a:lnTo>
                <a:lnTo>
                  <a:pt x="8780138" y="366208"/>
                </a:lnTo>
                <a:lnTo>
                  <a:pt x="8756712" y="376568"/>
                </a:lnTo>
                <a:lnTo>
                  <a:pt x="8734272" y="388408"/>
                </a:lnTo>
                <a:lnTo>
                  <a:pt x="8712572" y="401234"/>
                </a:lnTo>
                <a:lnTo>
                  <a:pt x="8691611" y="415294"/>
                </a:lnTo>
                <a:lnTo>
                  <a:pt x="8671637" y="431081"/>
                </a:lnTo>
                <a:lnTo>
                  <a:pt x="8652896" y="447854"/>
                </a:lnTo>
                <a:lnTo>
                  <a:pt x="8635142" y="465614"/>
                </a:lnTo>
                <a:lnTo>
                  <a:pt x="8618373" y="484361"/>
                </a:lnTo>
                <a:lnTo>
                  <a:pt x="8602838" y="504341"/>
                </a:lnTo>
                <a:lnTo>
                  <a:pt x="8588536" y="525061"/>
                </a:lnTo>
                <a:lnTo>
                  <a:pt x="8575466" y="547014"/>
                </a:lnTo>
                <a:lnTo>
                  <a:pt x="8563877" y="569707"/>
                </a:lnTo>
                <a:lnTo>
                  <a:pt x="8553520" y="592894"/>
                </a:lnTo>
                <a:lnTo>
                  <a:pt x="8544642" y="616820"/>
                </a:lnTo>
                <a:lnTo>
                  <a:pt x="8536998" y="641734"/>
                </a:lnTo>
                <a:lnTo>
                  <a:pt x="8531573" y="667140"/>
                </a:lnTo>
                <a:lnTo>
                  <a:pt x="8527134" y="693040"/>
                </a:lnTo>
                <a:lnTo>
                  <a:pt x="8524422" y="719680"/>
                </a:lnTo>
                <a:lnTo>
                  <a:pt x="8523682" y="746813"/>
                </a:lnTo>
                <a:lnTo>
                  <a:pt x="8524422" y="773453"/>
                </a:lnTo>
                <a:lnTo>
                  <a:pt x="8527134" y="800093"/>
                </a:lnTo>
                <a:lnTo>
                  <a:pt x="8531573" y="825993"/>
                </a:lnTo>
                <a:lnTo>
                  <a:pt x="8536998" y="851400"/>
                </a:lnTo>
                <a:lnTo>
                  <a:pt x="8544642" y="876313"/>
                </a:lnTo>
                <a:lnTo>
                  <a:pt x="8553520" y="900239"/>
                </a:lnTo>
                <a:lnTo>
                  <a:pt x="8563877" y="923919"/>
                </a:lnTo>
                <a:lnTo>
                  <a:pt x="8575466" y="946366"/>
                </a:lnTo>
                <a:lnTo>
                  <a:pt x="8588536" y="967826"/>
                </a:lnTo>
                <a:lnTo>
                  <a:pt x="8602838" y="988793"/>
                </a:lnTo>
                <a:lnTo>
                  <a:pt x="8618373" y="1008773"/>
                </a:lnTo>
                <a:lnTo>
                  <a:pt x="8635142" y="1027766"/>
                </a:lnTo>
                <a:lnTo>
                  <a:pt x="8652896" y="1045526"/>
                </a:lnTo>
                <a:lnTo>
                  <a:pt x="8671637" y="1062052"/>
                </a:lnTo>
                <a:lnTo>
                  <a:pt x="8691611" y="1077839"/>
                </a:lnTo>
                <a:lnTo>
                  <a:pt x="8712572" y="1091899"/>
                </a:lnTo>
                <a:lnTo>
                  <a:pt x="8734272" y="1104972"/>
                </a:lnTo>
                <a:lnTo>
                  <a:pt x="8756712" y="1116812"/>
                </a:lnTo>
                <a:lnTo>
                  <a:pt x="8780138" y="1127172"/>
                </a:lnTo>
                <a:lnTo>
                  <a:pt x="8804058" y="1135805"/>
                </a:lnTo>
                <a:lnTo>
                  <a:pt x="8828963" y="1143452"/>
                </a:lnTo>
                <a:lnTo>
                  <a:pt x="8854362" y="1149125"/>
                </a:lnTo>
                <a:lnTo>
                  <a:pt x="8880255" y="1153319"/>
                </a:lnTo>
                <a:lnTo>
                  <a:pt x="8906887" y="1156032"/>
                </a:lnTo>
                <a:lnTo>
                  <a:pt x="8934012" y="1156772"/>
                </a:lnTo>
                <a:lnTo>
                  <a:pt x="8960890" y="1156032"/>
                </a:lnTo>
                <a:lnTo>
                  <a:pt x="8987276" y="1153319"/>
                </a:lnTo>
                <a:lnTo>
                  <a:pt x="9013415" y="1149125"/>
                </a:lnTo>
                <a:lnTo>
                  <a:pt x="9038814" y="1143452"/>
                </a:lnTo>
                <a:lnTo>
                  <a:pt x="9063719" y="1135805"/>
                </a:lnTo>
                <a:lnTo>
                  <a:pt x="9087639" y="1127172"/>
                </a:lnTo>
                <a:lnTo>
                  <a:pt x="9111065" y="1116812"/>
                </a:lnTo>
                <a:lnTo>
                  <a:pt x="9133752" y="1104972"/>
                </a:lnTo>
                <a:lnTo>
                  <a:pt x="9155205" y="1091899"/>
                </a:lnTo>
                <a:lnTo>
                  <a:pt x="9176166" y="1077839"/>
                </a:lnTo>
                <a:lnTo>
                  <a:pt x="9195893" y="1062052"/>
                </a:lnTo>
                <a:lnTo>
                  <a:pt x="9215127" y="1045526"/>
                </a:lnTo>
                <a:lnTo>
                  <a:pt x="9232882" y="1027766"/>
                </a:lnTo>
                <a:lnTo>
                  <a:pt x="9249404" y="1008773"/>
                </a:lnTo>
                <a:lnTo>
                  <a:pt x="9264939" y="988793"/>
                </a:lnTo>
                <a:lnTo>
                  <a:pt x="9279241" y="967826"/>
                </a:lnTo>
                <a:lnTo>
                  <a:pt x="9292311" y="946366"/>
                </a:lnTo>
                <a:lnTo>
                  <a:pt x="9304147" y="923919"/>
                </a:lnTo>
                <a:lnTo>
                  <a:pt x="9314504" y="900239"/>
                </a:lnTo>
                <a:lnTo>
                  <a:pt x="9323135" y="876313"/>
                </a:lnTo>
                <a:lnTo>
                  <a:pt x="9330532" y="851400"/>
                </a:lnTo>
                <a:lnTo>
                  <a:pt x="9336451" y="825993"/>
                </a:lnTo>
                <a:lnTo>
                  <a:pt x="9340643" y="800093"/>
                </a:lnTo>
                <a:lnTo>
                  <a:pt x="9343109" y="773453"/>
                </a:lnTo>
                <a:lnTo>
                  <a:pt x="9344095" y="746813"/>
                </a:lnTo>
                <a:lnTo>
                  <a:pt x="9343848" y="726833"/>
                </a:lnTo>
                <a:lnTo>
                  <a:pt x="9342122" y="707347"/>
                </a:lnTo>
                <a:lnTo>
                  <a:pt x="9335218" y="708087"/>
                </a:lnTo>
                <a:lnTo>
                  <a:pt x="9327820" y="708333"/>
                </a:lnTo>
                <a:lnTo>
                  <a:pt x="9316477" y="707593"/>
                </a:lnTo>
                <a:lnTo>
                  <a:pt x="9305627" y="705373"/>
                </a:lnTo>
                <a:lnTo>
                  <a:pt x="9295516" y="701427"/>
                </a:lnTo>
                <a:lnTo>
                  <a:pt x="9285899" y="696247"/>
                </a:lnTo>
                <a:lnTo>
                  <a:pt x="9277268" y="689587"/>
                </a:lnTo>
                <a:lnTo>
                  <a:pt x="9269871" y="682187"/>
                </a:lnTo>
                <a:lnTo>
                  <a:pt x="9263213" y="673553"/>
                </a:lnTo>
                <a:lnTo>
                  <a:pt x="9258034" y="663933"/>
                </a:lnTo>
                <a:lnTo>
                  <a:pt x="9254089" y="653574"/>
                </a:lnTo>
                <a:lnTo>
                  <a:pt x="9251869" y="642967"/>
                </a:lnTo>
                <a:lnTo>
                  <a:pt x="9251130" y="631620"/>
                </a:lnTo>
                <a:lnTo>
                  <a:pt x="9251623" y="621014"/>
                </a:lnTo>
                <a:lnTo>
                  <a:pt x="9253842" y="610654"/>
                </a:lnTo>
                <a:lnTo>
                  <a:pt x="9257294" y="601034"/>
                </a:lnTo>
                <a:lnTo>
                  <a:pt x="9261733" y="592154"/>
                </a:lnTo>
                <a:lnTo>
                  <a:pt x="9267405" y="583767"/>
                </a:lnTo>
                <a:lnTo>
                  <a:pt x="9274309" y="576614"/>
                </a:lnTo>
                <a:lnTo>
                  <a:pt x="9281707" y="569954"/>
                </a:lnTo>
                <a:lnTo>
                  <a:pt x="9290091" y="564527"/>
                </a:lnTo>
                <a:lnTo>
                  <a:pt x="9299462" y="560087"/>
                </a:lnTo>
                <a:lnTo>
                  <a:pt x="9291324" y="545287"/>
                </a:lnTo>
                <a:lnTo>
                  <a:pt x="9282940" y="530734"/>
                </a:lnTo>
                <a:lnTo>
                  <a:pt x="9273076" y="532214"/>
                </a:lnTo>
                <a:lnTo>
                  <a:pt x="9262966" y="532707"/>
                </a:lnTo>
                <a:lnTo>
                  <a:pt x="9249650" y="531967"/>
                </a:lnTo>
                <a:lnTo>
                  <a:pt x="9236581" y="529747"/>
                </a:lnTo>
                <a:lnTo>
                  <a:pt x="9224251" y="526047"/>
                </a:lnTo>
                <a:lnTo>
                  <a:pt x="9212415" y="520867"/>
                </a:lnTo>
                <a:lnTo>
                  <a:pt x="9201318" y="514454"/>
                </a:lnTo>
                <a:lnTo>
                  <a:pt x="9190961" y="507301"/>
                </a:lnTo>
                <a:lnTo>
                  <a:pt x="9181591" y="498914"/>
                </a:lnTo>
                <a:lnTo>
                  <a:pt x="9173206" y="489294"/>
                </a:lnTo>
                <a:lnTo>
                  <a:pt x="9165809" y="479181"/>
                </a:lnTo>
                <a:lnTo>
                  <a:pt x="9159644" y="468081"/>
                </a:lnTo>
                <a:lnTo>
                  <a:pt x="9154712" y="456241"/>
                </a:lnTo>
                <a:lnTo>
                  <a:pt x="9151013" y="443907"/>
                </a:lnTo>
                <a:lnTo>
                  <a:pt x="9148794" y="431081"/>
                </a:lnTo>
                <a:lnTo>
                  <a:pt x="9148054" y="417268"/>
                </a:lnTo>
                <a:lnTo>
                  <a:pt x="9148301" y="407401"/>
                </a:lnTo>
                <a:lnTo>
                  <a:pt x="9149534" y="397534"/>
                </a:lnTo>
                <a:lnTo>
                  <a:pt x="9128327" y="385201"/>
                </a:lnTo>
                <a:lnTo>
                  <a:pt x="9106380" y="374348"/>
                </a:lnTo>
                <a:lnTo>
                  <a:pt x="9083447" y="364481"/>
                </a:lnTo>
                <a:lnTo>
                  <a:pt x="9060020" y="356094"/>
                </a:lnTo>
                <a:lnTo>
                  <a:pt x="9035608" y="349188"/>
                </a:lnTo>
                <a:lnTo>
                  <a:pt x="9011195" y="343514"/>
                </a:lnTo>
                <a:lnTo>
                  <a:pt x="8986043" y="339568"/>
                </a:lnTo>
                <a:lnTo>
                  <a:pt x="8959904" y="337101"/>
                </a:lnTo>
                <a:close/>
                <a:moveTo>
                  <a:pt x="9262793" y="319089"/>
                </a:moveTo>
                <a:lnTo>
                  <a:pt x="9250440" y="319584"/>
                </a:lnTo>
                <a:lnTo>
                  <a:pt x="9238582" y="321810"/>
                </a:lnTo>
                <a:lnTo>
                  <a:pt x="9227218" y="325520"/>
                </a:lnTo>
                <a:lnTo>
                  <a:pt x="9216595" y="330468"/>
                </a:lnTo>
                <a:lnTo>
                  <a:pt x="9206713" y="336652"/>
                </a:lnTo>
                <a:lnTo>
                  <a:pt x="9197325" y="343578"/>
                </a:lnTo>
                <a:lnTo>
                  <a:pt x="9189172" y="351988"/>
                </a:lnTo>
                <a:lnTo>
                  <a:pt x="9182008" y="361140"/>
                </a:lnTo>
                <a:lnTo>
                  <a:pt x="9175831" y="371035"/>
                </a:lnTo>
                <a:lnTo>
                  <a:pt x="9171137" y="381671"/>
                </a:lnTo>
                <a:lnTo>
                  <a:pt x="9167432" y="393297"/>
                </a:lnTo>
                <a:lnTo>
                  <a:pt x="9165208" y="404923"/>
                </a:lnTo>
                <a:lnTo>
                  <a:pt x="9164467" y="417291"/>
                </a:lnTo>
                <a:lnTo>
                  <a:pt x="9165208" y="429907"/>
                </a:lnTo>
                <a:lnTo>
                  <a:pt x="9167432" y="441780"/>
                </a:lnTo>
                <a:lnTo>
                  <a:pt x="9171137" y="453158"/>
                </a:lnTo>
                <a:lnTo>
                  <a:pt x="9175831" y="463795"/>
                </a:lnTo>
                <a:lnTo>
                  <a:pt x="9182008" y="473689"/>
                </a:lnTo>
                <a:lnTo>
                  <a:pt x="9189172" y="482842"/>
                </a:lnTo>
                <a:lnTo>
                  <a:pt x="9197325" y="491005"/>
                </a:lnTo>
                <a:lnTo>
                  <a:pt x="9206713" y="498425"/>
                </a:lnTo>
                <a:lnTo>
                  <a:pt x="9216595" y="504609"/>
                </a:lnTo>
                <a:lnTo>
                  <a:pt x="9227218" y="509557"/>
                </a:lnTo>
                <a:lnTo>
                  <a:pt x="9238582" y="512772"/>
                </a:lnTo>
                <a:lnTo>
                  <a:pt x="9250440" y="515246"/>
                </a:lnTo>
                <a:lnTo>
                  <a:pt x="9262793" y="515988"/>
                </a:lnTo>
                <a:lnTo>
                  <a:pt x="9275145" y="515246"/>
                </a:lnTo>
                <a:lnTo>
                  <a:pt x="9287251" y="512772"/>
                </a:lnTo>
                <a:lnTo>
                  <a:pt x="9298368" y="509557"/>
                </a:lnTo>
                <a:lnTo>
                  <a:pt x="9308991" y="504609"/>
                </a:lnTo>
                <a:lnTo>
                  <a:pt x="9319120" y="498425"/>
                </a:lnTo>
                <a:lnTo>
                  <a:pt x="9328261" y="491005"/>
                </a:lnTo>
                <a:lnTo>
                  <a:pt x="9336414" y="482842"/>
                </a:lnTo>
                <a:lnTo>
                  <a:pt x="9343825" y="473689"/>
                </a:lnTo>
                <a:lnTo>
                  <a:pt x="9349508" y="463795"/>
                </a:lnTo>
                <a:lnTo>
                  <a:pt x="9354696" y="453158"/>
                </a:lnTo>
                <a:lnTo>
                  <a:pt x="9358401" y="441780"/>
                </a:lnTo>
                <a:lnTo>
                  <a:pt x="9360625" y="429907"/>
                </a:lnTo>
                <a:lnTo>
                  <a:pt x="9361366" y="417291"/>
                </a:lnTo>
                <a:lnTo>
                  <a:pt x="9360625" y="404923"/>
                </a:lnTo>
                <a:lnTo>
                  <a:pt x="9358401" y="393297"/>
                </a:lnTo>
                <a:lnTo>
                  <a:pt x="9354696" y="381671"/>
                </a:lnTo>
                <a:lnTo>
                  <a:pt x="9349508" y="371035"/>
                </a:lnTo>
                <a:lnTo>
                  <a:pt x="9343825" y="361140"/>
                </a:lnTo>
                <a:lnTo>
                  <a:pt x="9336414" y="351988"/>
                </a:lnTo>
                <a:lnTo>
                  <a:pt x="9328261" y="343578"/>
                </a:lnTo>
                <a:lnTo>
                  <a:pt x="9319120" y="336652"/>
                </a:lnTo>
                <a:lnTo>
                  <a:pt x="9308991" y="330468"/>
                </a:lnTo>
                <a:lnTo>
                  <a:pt x="9298368" y="325520"/>
                </a:lnTo>
                <a:lnTo>
                  <a:pt x="9287251" y="321810"/>
                </a:lnTo>
                <a:lnTo>
                  <a:pt x="9275145" y="319584"/>
                </a:lnTo>
                <a:close/>
                <a:moveTo>
                  <a:pt x="0" y="0"/>
                </a:moveTo>
                <a:lnTo>
                  <a:pt x="9906000" y="0"/>
                </a:lnTo>
                <a:lnTo>
                  <a:pt x="9906000" y="3595821"/>
                </a:lnTo>
                <a:lnTo>
                  <a:pt x="9604208" y="3595821"/>
                </a:lnTo>
                <a:lnTo>
                  <a:pt x="9604208" y="3274542"/>
                </a:lnTo>
                <a:lnTo>
                  <a:pt x="321276" y="3274542"/>
                </a:lnTo>
                <a:lnTo>
                  <a:pt x="321276" y="3595821"/>
                </a:lnTo>
                <a:lnTo>
                  <a:pt x="0" y="3595821"/>
                </a:lnTo>
                <a:close/>
              </a:path>
            </a:pathLst>
          </a:custGeom>
          <a:solidFill>
            <a:schemeClr val="accent5">
              <a:lumMod val="75000"/>
            </a:schemeClr>
          </a:solidFill>
          <a:ln>
            <a:noFill/>
          </a:ln>
        </p:spPr>
        <p:txBody>
          <a:bodyPr wrap="square" lIns="36000" tIns="36000" rIns="36000" bIns="36000" anchor="ctr">
            <a:noAutofit/>
          </a:bodyPr>
          <a:lstStyle>
            <a:lvl1pPr marL="0" indent="0" algn="ctr">
              <a:lnSpc>
                <a:spcPct val="100000"/>
              </a:lnSpc>
              <a:spcAft>
                <a:spcPts val="0"/>
              </a:spcAft>
              <a:buNone/>
              <a:defRPr sz="1662">
                <a:solidFill>
                  <a:schemeClr val="bg1"/>
                </a:solidFill>
              </a:defRPr>
            </a:lvl1pPr>
          </a:lstStyle>
          <a:p>
            <a:endParaRPr lang="en-GB" dirty="0"/>
          </a:p>
        </p:txBody>
      </p:sp>
      <p:sp>
        <p:nvSpPr>
          <p:cNvPr id="2" name="Rectangle 1">
            <a:extLst>
              <a:ext uri="{FF2B5EF4-FFF2-40B4-BE49-F238E27FC236}">
                <a16:creationId xmlns:a16="http://schemas.microsoft.com/office/drawing/2014/main" id="{D00A8916-A10E-4101-8A80-1E5A4C0A84A6}"/>
              </a:ext>
            </a:extLst>
          </p:cNvPr>
          <p:cNvSpPr/>
          <p:nvPr userDrawn="1"/>
        </p:nvSpPr>
        <p:spPr>
          <a:xfrm>
            <a:off x="0" y="6508376"/>
            <a:ext cx="9144000" cy="34962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dirty="0"/>
          </a:p>
        </p:txBody>
      </p:sp>
      <p:sp>
        <p:nvSpPr>
          <p:cNvPr id="18" name="Text Placeholder 7">
            <a:extLst>
              <a:ext uri="{FF2B5EF4-FFF2-40B4-BE49-F238E27FC236}">
                <a16:creationId xmlns:a16="http://schemas.microsoft.com/office/drawing/2014/main" id="{BAF7F487-8085-4FCE-A7F0-287BE3B76292}"/>
              </a:ext>
            </a:extLst>
          </p:cNvPr>
          <p:cNvSpPr>
            <a:spLocks noGrp="1"/>
          </p:cNvSpPr>
          <p:nvPr>
            <p:ph type="body" sz="quarter" idx="15" hasCustomPrompt="1"/>
          </p:nvPr>
        </p:nvSpPr>
        <p:spPr>
          <a:xfrm>
            <a:off x="553182" y="3454400"/>
            <a:ext cx="8038523" cy="1950518"/>
          </a:xfrm>
        </p:spPr>
        <p:txBody>
          <a:bodyPr anchor="t" anchorCtr="0">
            <a:normAutofit/>
          </a:bodyPr>
          <a:lstStyle>
            <a:lvl1pPr>
              <a:lnSpc>
                <a:spcPct val="90000"/>
              </a:lnSpc>
              <a:spcBef>
                <a:spcPts val="0"/>
              </a:spcBef>
              <a:spcAft>
                <a:spcPts val="0"/>
              </a:spcAft>
              <a:defRPr sz="3323" b="1" cap="all" spc="0" baseline="0">
                <a:solidFill>
                  <a:schemeClr val="bg2"/>
                </a:solidFill>
              </a:defRPr>
            </a:lvl1pPr>
            <a:lvl2pPr>
              <a:lnSpc>
                <a:spcPct val="80000"/>
              </a:lnSpc>
              <a:spcBef>
                <a:spcPts val="185"/>
              </a:spcBef>
              <a:spcAft>
                <a:spcPts val="0"/>
              </a:spcAft>
              <a:defRPr sz="2954" spc="0">
                <a:solidFill>
                  <a:srgbClr val="7A91A6"/>
                </a:solidFill>
              </a:defRPr>
            </a:lvl2pPr>
          </a:lstStyle>
          <a:p>
            <a:pPr lvl="0"/>
            <a:r>
              <a:rPr lang="en-GB" dirty="0"/>
              <a:t>Insert Document heading</a:t>
            </a:r>
          </a:p>
          <a:p>
            <a:pPr lvl="0"/>
            <a:r>
              <a:rPr lang="en-GB" dirty="0"/>
              <a:t>This can span up to TWO LINES</a:t>
            </a:r>
          </a:p>
          <a:p>
            <a:pPr lvl="1"/>
            <a:r>
              <a:rPr lang="en-US" dirty="0"/>
              <a:t>Insert subtitle this can </a:t>
            </a:r>
            <a:br>
              <a:rPr lang="en-US" dirty="0"/>
            </a:br>
            <a:r>
              <a:rPr lang="en-US" dirty="0"/>
              <a:t>span up to two lines</a:t>
            </a:r>
          </a:p>
        </p:txBody>
      </p:sp>
      <p:sp>
        <p:nvSpPr>
          <p:cNvPr id="3" name="Date Placeholder 2">
            <a:extLst>
              <a:ext uri="{FF2B5EF4-FFF2-40B4-BE49-F238E27FC236}">
                <a16:creationId xmlns:a16="http://schemas.microsoft.com/office/drawing/2014/main" id="{398D23F1-6C06-4D87-841D-FBF79E004AD1}"/>
              </a:ext>
            </a:extLst>
          </p:cNvPr>
          <p:cNvSpPr>
            <a:spLocks noGrp="1"/>
          </p:cNvSpPr>
          <p:nvPr>
            <p:ph type="dt" sz="half" idx="16"/>
          </p:nvPr>
        </p:nvSpPr>
        <p:spPr>
          <a:xfrm>
            <a:off x="559343" y="5531670"/>
            <a:ext cx="8031476" cy="394715"/>
          </a:xfrm>
        </p:spPr>
        <p:txBody>
          <a:bodyPr/>
          <a:lstStyle/>
          <a:p>
            <a:endParaRPr lang="en-GB" dirty="0"/>
          </a:p>
        </p:txBody>
      </p:sp>
      <p:sp>
        <p:nvSpPr>
          <p:cNvPr id="14" name="txtSecureMarker1" hidden="1"/>
          <p:cNvSpPr txBox="1"/>
          <p:nvPr userDrawn="1"/>
        </p:nvSpPr>
        <p:spPr>
          <a:xfrm>
            <a:off x="2820943" y="57479"/>
            <a:ext cx="3502116" cy="248530"/>
          </a:xfrm>
          <a:prstGeom prst="rect">
            <a:avLst/>
          </a:prstGeom>
          <a:noFill/>
        </p:spPr>
        <p:txBody>
          <a:bodyPr wrap="square" rtlCol="0">
            <a:sp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15" name="txtSecureMarker2" hidden="1"/>
          <p:cNvSpPr txBox="1"/>
          <p:nvPr userDrawn="1"/>
        </p:nvSpPr>
        <p:spPr>
          <a:xfrm>
            <a:off x="2820943" y="6508377"/>
            <a:ext cx="3502116" cy="248530"/>
          </a:xfrm>
          <a:prstGeom prst="rect">
            <a:avLst/>
          </a:prstGeom>
          <a:noFill/>
        </p:spPr>
        <p:txBody>
          <a:bodyPr wrap="square" rtlCol="0">
            <a:sp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16" name="txtWMTD"/>
          <p:cNvSpPr txBox="1">
            <a:spLocks/>
          </p:cNvSpPr>
          <p:nvPr userDrawn="1"/>
        </p:nvSpPr>
        <p:spPr>
          <a:xfrm>
            <a:off x="6708531" y="5926385"/>
            <a:ext cx="1882287" cy="421005"/>
          </a:xfrm>
          <a:prstGeom prst="rect">
            <a:avLst/>
          </a:prstGeom>
        </p:spPr>
        <p:txBody>
          <a:bodyPr vert="horz" wrap="square" lIns="0" tIns="42203" rIns="84406" bIns="42203" rtlCol="0">
            <a:noAutofit/>
          </a:bodyPr>
          <a:lstStyle/>
          <a:p>
            <a:pPr algn="r">
              <a:spcAft>
                <a:spcPts val="0"/>
              </a:spcAft>
            </a:pPr>
            <a:r>
              <a:rPr lang="en-GB" sz="1108" b="1" dirty="0">
                <a:solidFill>
                  <a:srgbClr val="5D717F"/>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dirty="0">
                <a:solidFill>
                  <a:srgbClr val="5D717F"/>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1885356052"/>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B">
    <p:spTree>
      <p:nvGrpSpPr>
        <p:cNvPr id="1" name=""/>
        <p:cNvGrpSpPr/>
        <p:nvPr/>
      </p:nvGrpSpPr>
      <p:grpSpPr>
        <a:xfrm>
          <a:off x="0" y="0"/>
          <a:ext cx="0" cy="0"/>
          <a:chOff x="0" y="0"/>
          <a:chExt cx="0" cy="0"/>
        </a:xfrm>
      </p:grpSpPr>
      <p:sp>
        <p:nvSpPr>
          <p:cNvPr id="15" name="Picture Placeholder 14"/>
          <p:cNvSpPr>
            <a:spLocks noGrp="1"/>
          </p:cNvSpPr>
          <p:nvPr>
            <p:ph type="pic" sz="quarter" idx="19"/>
          </p:nvPr>
        </p:nvSpPr>
        <p:spPr>
          <a:xfrm>
            <a:off x="0" y="0"/>
            <a:ext cx="5184531" cy="6858000"/>
          </a:xfrm>
          <a:custGeom>
            <a:avLst/>
            <a:gdLst>
              <a:gd name="connsiteX0" fmla="*/ 0 w 5616575"/>
              <a:gd name="connsiteY0" fmla="*/ 0 h 6858000"/>
              <a:gd name="connsiteX1" fmla="*/ 5616575 w 5616575"/>
              <a:gd name="connsiteY1" fmla="*/ 0 h 6858000"/>
              <a:gd name="connsiteX2" fmla="*/ 5616575 w 5616575"/>
              <a:gd name="connsiteY2" fmla="*/ 296862 h 6858000"/>
              <a:gd name="connsiteX3" fmla="*/ 5336669 w 5616575"/>
              <a:gd name="connsiteY3" fmla="*/ 296862 h 6858000"/>
              <a:gd name="connsiteX4" fmla="*/ 5336669 w 5616575"/>
              <a:gd name="connsiteY4" fmla="*/ 6453188 h 6858000"/>
              <a:gd name="connsiteX5" fmla="*/ 5616575 w 5616575"/>
              <a:gd name="connsiteY5" fmla="*/ 6453188 h 6858000"/>
              <a:gd name="connsiteX6" fmla="*/ 5616575 w 5616575"/>
              <a:gd name="connsiteY6" fmla="*/ 6858000 h 6858000"/>
              <a:gd name="connsiteX7" fmla="*/ 0 w 561657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616575" h="6858000">
                <a:moveTo>
                  <a:pt x="0" y="0"/>
                </a:moveTo>
                <a:lnTo>
                  <a:pt x="5616575" y="0"/>
                </a:lnTo>
                <a:lnTo>
                  <a:pt x="5616575" y="296862"/>
                </a:lnTo>
                <a:lnTo>
                  <a:pt x="5336669" y="296862"/>
                </a:lnTo>
                <a:lnTo>
                  <a:pt x="5336669" y="6453188"/>
                </a:lnTo>
                <a:lnTo>
                  <a:pt x="5616575" y="6453188"/>
                </a:lnTo>
                <a:lnTo>
                  <a:pt x="5616575" y="6858000"/>
                </a:lnTo>
                <a:lnTo>
                  <a:pt x="0" y="6858000"/>
                </a:lnTo>
                <a:close/>
              </a:path>
            </a:pathLst>
          </a:custGeom>
          <a:solidFill>
            <a:schemeClr val="accent5">
              <a:lumMod val="75000"/>
            </a:schemeClr>
          </a:solidFill>
        </p:spPr>
        <p:txBody>
          <a:bodyPr wrap="square" lIns="36000" tIns="36000" rIns="36000" bIns="36000" anchor="ctr">
            <a:noAutofit/>
          </a:bodyPr>
          <a:lstStyle>
            <a:lvl1pPr algn="ctr">
              <a:defRPr>
                <a:solidFill>
                  <a:schemeClr val="bg1"/>
                </a:solidFill>
              </a:defRPr>
            </a:lvl1pPr>
          </a:lstStyle>
          <a:p>
            <a:endParaRPr lang="en-GB" dirty="0"/>
          </a:p>
        </p:txBody>
      </p:sp>
      <p:sp>
        <p:nvSpPr>
          <p:cNvPr id="21" name="Rectangle 20"/>
          <p:cNvSpPr/>
          <p:nvPr userDrawn="1"/>
        </p:nvSpPr>
        <p:spPr>
          <a:xfrm>
            <a:off x="4926158" y="296862"/>
            <a:ext cx="393356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dirty="0"/>
          </a:p>
        </p:txBody>
      </p:sp>
      <p:sp>
        <p:nvSpPr>
          <p:cNvPr id="9" name="Rectangle 8"/>
          <p:cNvSpPr/>
          <p:nvPr userDrawn="1"/>
        </p:nvSpPr>
        <p:spPr>
          <a:xfrm>
            <a:off x="4926158" y="296862"/>
            <a:ext cx="3933560"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dirty="0"/>
          </a:p>
        </p:txBody>
      </p:sp>
      <p:sp>
        <p:nvSpPr>
          <p:cNvPr id="31" name="Text Placeholder 22"/>
          <p:cNvSpPr>
            <a:spLocks noGrp="1"/>
          </p:cNvSpPr>
          <p:nvPr>
            <p:ph type="body" sz="quarter" idx="17" hasCustomPrompt="1"/>
          </p:nvPr>
        </p:nvSpPr>
        <p:spPr>
          <a:xfrm>
            <a:off x="5272892" y="4700577"/>
            <a:ext cx="3321364" cy="795999"/>
          </a:xfrm>
        </p:spPr>
        <p:txBody>
          <a:bodyPr lIns="0" tIns="46800" rIns="0">
            <a:normAutofit/>
          </a:bodyPr>
          <a:lstStyle>
            <a:lvl1pPr>
              <a:lnSpc>
                <a:spcPct val="110000"/>
              </a:lnSpc>
              <a:spcBef>
                <a:spcPts val="0"/>
              </a:spcBef>
              <a:spcAft>
                <a:spcPts val="738"/>
              </a:spcAft>
              <a:defRPr sz="1292" b="0" cap="none" baseline="0"/>
            </a:lvl1pPr>
            <a:lvl3pPr>
              <a:defRPr sz="1292"/>
            </a:lvl3pPr>
            <a:lvl4pPr marL="0" indent="0">
              <a:buNone/>
              <a:defRPr sz="1292"/>
            </a:lvl4pPr>
            <a:lvl5pPr marL="0" indent="0">
              <a:buNone/>
              <a:defRPr sz="1292"/>
            </a:lvl5pPr>
            <a:lvl6pPr marL="0" indent="0">
              <a:buNone/>
              <a:defRPr sz="1292"/>
            </a:lvl6pPr>
            <a:lvl7pPr marL="0" indent="0">
              <a:buNone/>
              <a:defRPr sz="1292"/>
            </a:lvl7pPr>
            <a:lvl8pPr marL="0" indent="0">
              <a:buNone/>
              <a:defRPr sz="1292"/>
            </a:lvl8pPr>
            <a:lvl9pPr marL="0" indent="0">
              <a:buNone/>
              <a:defRPr sz="1292"/>
            </a:lvl9pPr>
          </a:lstStyle>
          <a:p>
            <a:pPr lvl="0"/>
            <a:r>
              <a:rPr lang="en-GB" dirty="0"/>
              <a:t>Large text – Arial regular size 14</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736560" y="587636"/>
            <a:ext cx="846426" cy="837683"/>
          </a:xfrm>
          <a:prstGeom prst="rect">
            <a:avLst/>
          </a:prstGeom>
        </p:spPr>
      </p:pic>
      <p:sp>
        <p:nvSpPr>
          <p:cNvPr id="10" name="txtSecureMarker1" hidden="1"/>
          <p:cNvSpPr txBox="1"/>
          <p:nvPr userDrawn="1"/>
        </p:nvSpPr>
        <p:spPr>
          <a:xfrm>
            <a:off x="5356583" y="26528"/>
            <a:ext cx="3502116" cy="248530"/>
          </a:xfrm>
          <a:prstGeom prst="rect">
            <a:avLst/>
          </a:prstGeom>
          <a:noFill/>
        </p:spPr>
        <p:txBody>
          <a:bodyPr wrap="square" rtlCol="0">
            <a:sp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11" name="txtSecureMarker2" hidden="1"/>
          <p:cNvSpPr txBox="1"/>
          <p:nvPr userDrawn="1"/>
        </p:nvSpPr>
        <p:spPr>
          <a:xfrm>
            <a:off x="5184531" y="6324603"/>
            <a:ext cx="3025231" cy="466889"/>
          </a:xfrm>
          <a:prstGeom prst="rect">
            <a:avLst/>
          </a:prstGeom>
          <a:noFill/>
        </p:spPr>
        <p:txBody>
          <a:bodyPr wrap="square" rtlCol="0" anchor="b" anchorCtr="0">
            <a:no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16" name="Text Placeholder 7">
            <a:extLst>
              <a:ext uri="{FF2B5EF4-FFF2-40B4-BE49-F238E27FC236}">
                <a16:creationId xmlns:a16="http://schemas.microsoft.com/office/drawing/2014/main" id="{229D21AB-2588-4875-9FB0-D34D9BE36A1E}"/>
              </a:ext>
            </a:extLst>
          </p:cNvPr>
          <p:cNvSpPr>
            <a:spLocks noGrp="1"/>
          </p:cNvSpPr>
          <p:nvPr>
            <p:ph type="body" sz="quarter" idx="20" hasCustomPrompt="1"/>
          </p:nvPr>
        </p:nvSpPr>
        <p:spPr>
          <a:xfrm>
            <a:off x="5272892" y="1716088"/>
            <a:ext cx="3310093" cy="2916000"/>
          </a:xfrm>
        </p:spPr>
        <p:txBody>
          <a:bodyPr anchor="t" anchorCtr="0">
            <a:normAutofit/>
          </a:bodyPr>
          <a:lstStyle>
            <a:lvl1pPr>
              <a:lnSpc>
                <a:spcPct val="90000"/>
              </a:lnSpc>
              <a:spcBef>
                <a:spcPts val="0"/>
              </a:spcBef>
              <a:spcAft>
                <a:spcPts val="0"/>
              </a:spcAft>
              <a:defRPr sz="3323" b="1" cap="all" spc="0" baseline="0">
                <a:solidFill>
                  <a:schemeClr val="bg2"/>
                </a:solidFill>
              </a:defRPr>
            </a:lvl1pPr>
            <a:lvl2pPr>
              <a:lnSpc>
                <a:spcPct val="80000"/>
              </a:lnSpc>
              <a:spcBef>
                <a:spcPts val="185"/>
              </a:spcBef>
              <a:spcAft>
                <a:spcPts val="0"/>
              </a:spcAft>
              <a:defRPr sz="2954" spc="0">
                <a:solidFill>
                  <a:srgbClr val="7A91A6"/>
                </a:solidFill>
              </a:defRPr>
            </a:lvl2pPr>
          </a:lstStyle>
          <a:p>
            <a:pPr lvl="0"/>
            <a:r>
              <a:rPr lang="en-GB" dirty="0"/>
              <a:t>CLICK TO EDIT Title </a:t>
            </a:r>
          </a:p>
          <a:p>
            <a:pPr lvl="1"/>
            <a:r>
              <a:rPr lang="en-US" dirty="0"/>
              <a:t>Second level</a:t>
            </a:r>
          </a:p>
        </p:txBody>
      </p:sp>
      <p:sp>
        <p:nvSpPr>
          <p:cNvPr id="13" name="txtWMTD"/>
          <p:cNvSpPr txBox="1">
            <a:spLocks/>
          </p:cNvSpPr>
          <p:nvPr userDrawn="1"/>
        </p:nvSpPr>
        <p:spPr>
          <a:xfrm>
            <a:off x="6708531" y="5926385"/>
            <a:ext cx="1882287" cy="421005"/>
          </a:xfrm>
          <a:prstGeom prst="rect">
            <a:avLst/>
          </a:prstGeom>
        </p:spPr>
        <p:txBody>
          <a:bodyPr vert="horz" wrap="square" lIns="0" tIns="42203" rIns="84406" bIns="42203" rtlCol="0">
            <a:noAutofit/>
          </a:bodyPr>
          <a:lstStyle/>
          <a:p>
            <a:pPr algn="r">
              <a:spcAft>
                <a:spcPts val="0"/>
              </a:spcAft>
            </a:pPr>
            <a:r>
              <a:rPr lang="en-GB" sz="1108" b="1" dirty="0">
                <a:solidFill>
                  <a:srgbClr val="5D717F"/>
                </a:solidFill>
                <a:effectLst/>
                <a:latin typeface="Arial" panose="020B0604020202020204" pitchFamily="34" charset="0"/>
                <a:ea typeface="Calibri" panose="020F0502020204030204" pitchFamily="34" charset="0"/>
                <a:cs typeface="Times New Roman" panose="02020603050405020304" pitchFamily="18" charset="0"/>
              </a:rPr>
              <a:t>Bringing Ingenuity to Life</a:t>
            </a:r>
          </a:p>
          <a:p>
            <a:pPr algn="r">
              <a:spcAft>
                <a:spcPts val="0"/>
              </a:spcAft>
            </a:pPr>
            <a:r>
              <a:rPr lang="en-GB" sz="923" dirty="0">
                <a:solidFill>
                  <a:srgbClr val="5D717F"/>
                </a:solidFill>
                <a:effectLst/>
                <a:latin typeface="Arial" panose="020B0604020202020204" pitchFamily="34" charset="0"/>
                <a:ea typeface="Calibri" panose="020F0502020204030204" pitchFamily="34" charset="0"/>
                <a:cs typeface="Times New Roman" panose="02020603050405020304" pitchFamily="18" charset="0"/>
              </a:rPr>
              <a:t>paconsulting.com</a:t>
            </a:r>
          </a:p>
        </p:txBody>
      </p:sp>
    </p:spTree>
    <p:extLst>
      <p:ext uri="{BB962C8B-B14F-4D97-AF65-F5344CB8AC3E}">
        <p14:creationId xmlns:p14="http://schemas.microsoft.com/office/powerpoint/2010/main" val="2069889013"/>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Divider Slide A [TOC Source]">
    <p:spTree>
      <p:nvGrpSpPr>
        <p:cNvPr id="1" name=""/>
        <p:cNvGrpSpPr/>
        <p:nvPr/>
      </p:nvGrpSpPr>
      <p:grpSpPr>
        <a:xfrm>
          <a:off x="0" y="0"/>
          <a:ext cx="0" cy="0"/>
          <a:chOff x="0" y="0"/>
          <a:chExt cx="0" cy="0"/>
        </a:xfrm>
      </p:grpSpPr>
      <p:sp>
        <p:nvSpPr>
          <p:cNvPr id="18" name="plcPicture">
            <a:extLst>
              <a:ext uri="{FF2B5EF4-FFF2-40B4-BE49-F238E27FC236}">
                <a16:creationId xmlns:a16="http://schemas.microsoft.com/office/drawing/2014/main" id="{FDBD7B76-FE59-43F2-BE4F-F36133B2C122}"/>
              </a:ext>
            </a:extLst>
          </p:cNvPr>
          <p:cNvSpPr>
            <a:spLocks noGrp="1"/>
          </p:cNvSpPr>
          <p:nvPr>
            <p:ph type="pic" sz="quarter" idx="22"/>
          </p:nvPr>
        </p:nvSpPr>
        <p:spPr>
          <a:xfrm>
            <a:off x="3407640" y="0"/>
            <a:ext cx="5736360" cy="6858000"/>
          </a:xfrm>
          <a:custGeom>
            <a:avLst/>
            <a:gdLst>
              <a:gd name="connsiteX0" fmla="*/ 0 w 6214390"/>
              <a:gd name="connsiteY0" fmla="*/ 0 h 6858000"/>
              <a:gd name="connsiteX1" fmla="*/ 6214390 w 6214390"/>
              <a:gd name="connsiteY1" fmla="*/ 0 h 6858000"/>
              <a:gd name="connsiteX2" fmla="*/ 6214390 w 6214390"/>
              <a:gd name="connsiteY2" fmla="*/ 6858000 h 6858000"/>
              <a:gd name="connsiteX3" fmla="*/ 0 w 6214390"/>
              <a:gd name="connsiteY3" fmla="*/ 6858000 h 6858000"/>
              <a:gd name="connsiteX4" fmla="*/ 0 w 6214390"/>
              <a:gd name="connsiteY4" fmla="*/ 6453188 h 6858000"/>
              <a:gd name="connsiteX5" fmla="*/ 273965 w 6214390"/>
              <a:gd name="connsiteY5" fmla="*/ 6453188 h 6858000"/>
              <a:gd name="connsiteX6" fmla="*/ 273965 w 6214390"/>
              <a:gd name="connsiteY6" fmla="*/ 296862 h 6858000"/>
              <a:gd name="connsiteX7" fmla="*/ 0 w 6214390"/>
              <a:gd name="connsiteY7" fmla="*/ 296862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14390" h="6858000">
                <a:moveTo>
                  <a:pt x="0" y="0"/>
                </a:moveTo>
                <a:lnTo>
                  <a:pt x="6214390" y="0"/>
                </a:lnTo>
                <a:lnTo>
                  <a:pt x="6214390" y="6858000"/>
                </a:lnTo>
                <a:lnTo>
                  <a:pt x="0" y="6858000"/>
                </a:lnTo>
                <a:lnTo>
                  <a:pt x="0" y="6453188"/>
                </a:lnTo>
                <a:lnTo>
                  <a:pt x="273965" y="6453188"/>
                </a:lnTo>
                <a:lnTo>
                  <a:pt x="273965" y="296862"/>
                </a:lnTo>
                <a:lnTo>
                  <a:pt x="0" y="296862"/>
                </a:lnTo>
                <a:close/>
              </a:path>
            </a:pathLst>
          </a:custGeom>
          <a:solidFill>
            <a:schemeClr val="accent5">
              <a:lumMod val="75000"/>
            </a:schemeClr>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dirty="0"/>
          </a:p>
        </p:txBody>
      </p:sp>
      <p:sp>
        <p:nvSpPr>
          <p:cNvPr id="14" name="shpSection">
            <a:extLst>
              <a:ext uri="{FF2B5EF4-FFF2-40B4-BE49-F238E27FC236}">
                <a16:creationId xmlns:a16="http://schemas.microsoft.com/office/drawing/2014/main" id="{94B423C4-AB24-4683-A765-A3CD76C08777}"/>
              </a:ext>
            </a:extLst>
          </p:cNvPr>
          <p:cNvSpPr/>
          <p:nvPr userDrawn="1"/>
        </p:nvSpPr>
        <p:spPr>
          <a:xfrm>
            <a:off x="284286" y="296862"/>
            <a:ext cx="3376245"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dirty="0">
              <a:solidFill>
                <a:srgbClr val="FFFFFF"/>
              </a:solidFill>
            </a:endParaRPr>
          </a:p>
        </p:txBody>
      </p:sp>
      <p:sp>
        <p:nvSpPr>
          <p:cNvPr id="13" name="plcSectionNumber"/>
          <p:cNvSpPr>
            <a:spLocks noGrp="1"/>
          </p:cNvSpPr>
          <p:nvPr>
            <p:ph type="body" sz="quarter" idx="15" hasCustomPrompt="1"/>
          </p:nvPr>
        </p:nvSpPr>
        <p:spPr>
          <a:xfrm>
            <a:off x="562362" y="1706807"/>
            <a:ext cx="1802769" cy="1315824"/>
          </a:xfrm>
        </p:spPr>
        <p:txBody>
          <a:bodyPr anchor="ctr">
            <a:normAutofit/>
          </a:bodyPr>
          <a:lstStyle>
            <a:lvl1pP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US" dirty="0"/>
              <a:t>##</a:t>
            </a:r>
          </a:p>
        </p:txBody>
      </p:sp>
      <p:sp>
        <p:nvSpPr>
          <p:cNvPr id="7" name="txtSecureMarker1" hidden="1"/>
          <p:cNvSpPr txBox="1"/>
          <p:nvPr userDrawn="1"/>
        </p:nvSpPr>
        <p:spPr>
          <a:xfrm>
            <a:off x="284287" y="55389"/>
            <a:ext cx="3502116" cy="248530"/>
          </a:xfrm>
          <a:prstGeom prst="rect">
            <a:avLst/>
          </a:prstGeom>
          <a:noFill/>
        </p:spPr>
        <p:txBody>
          <a:bodyPr wrap="square" rtlCol="0">
            <a:sp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9" name="txtSecureMarker2" hidden="1"/>
          <p:cNvSpPr txBox="1"/>
          <p:nvPr userDrawn="1"/>
        </p:nvSpPr>
        <p:spPr>
          <a:xfrm>
            <a:off x="284287" y="6534711"/>
            <a:ext cx="3502116" cy="248530"/>
          </a:xfrm>
          <a:prstGeom prst="rect">
            <a:avLst/>
          </a:prstGeom>
          <a:noFill/>
        </p:spPr>
        <p:txBody>
          <a:bodyPr wrap="square" rtlCol="0">
            <a:sp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12" name="plcSectionTitle">
            <a:extLst>
              <a:ext uri="{FF2B5EF4-FFF2-40B4-BE49-F238E27FC236}">
                <a16:creationId xmlns:a16="http://schemas.microsoft.com/office/drawing/2014/main" id="{A0986BAB-7A84-4675-907C-814E976DD806}"/>
              </a:ext>
            </a:extLst>
          </p:cNvPr>
          <p:cNvSpPr>
            <a:spLocks noGrp="1"/>
          </p:cNvSpPr>
          <p:nvPr>
            <p:ph type="body" sz="quarter" idx="13" hasCustomPrompt="1"/>
          </p:nvPr>
        </p:nvSpPr>
        <p:spPr>
          <a:xfrm>
            <a:off x="553183" y="3183071"/>
            <a:ext cx="2806350" cy="2970213"/>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2845829158"/>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Rectangle 6"/>
          <p:cNvSpPr>
            <a:spLocks noGrp="1" noChangeArrowheads="1"/>
          </p:cNvSpPr>
          <p:nvPr>
            <p:ph type="sldNum" sz="quarter" idx="10"/>
          </p:nvPr>
        </p:nvSpPr>
        <p:spPr>
          <a:ln/>
        </p:spPr>
        <p:txBody>
          <a:bodyPr/>
          <a:lstStyle>
            <a:lvl1pPr>
              <a:defRPr/>
            </a:lvl1pPr>
          </a:lstStyle>
          <a:p>
            <a:pPr>
              <a:defRPr/>
            </a:pPr>
            <a:fld id="{D161869A-595C-4EA7-9471-C11BD2D249B0}"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3828827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Divider Slide B [TOC Source]">
    <p:spTree>
      <p:nvGrpSpPr>
        <p:cNvPr id="1" name=""/>
        <p:cNvGrpSpPr/>
        <p:nvPr/>
      </p:nvGrpSpPr>
      <p:grpSpPr>
        <a:xfrm>
          <a:off x="0" y="0"/>
          <a:ext cx="0" cy="0"/>
          <a:chOff x="0" y="0"/>
          <a:chExt cx="0" cy="0"/>
        </a:xfrm>
      </p:grpSpPr>
      <p:sp>
        <p:nvSpPr>
          <p:cNvPr id="22" name="plcPicture">
            <a:extLst>
              <a:ext uri="{FF2B5EF4-FFF2-40B4-BE49-F238E27FC236}">
                <a16:creationId xmlns:a16="http://schemas.microsoft.com/office/drawing/2014/main" id="{24EE9CC8-950C-49B4-9FDC-63D2C17B2C2C}"/>
              </a:ext>
            </a:extLst>
          </p:cNvPr>
          <p:cNvSpPr>
            <a:spLocks noGrp="1"/>
          </p:cNvSpPr>
          <p:nvPr>
            <p:ph type="pic" sz="quarter" idx="22"/>
          </p:nvPr>
        </p:nvSpPr>
        <p:spPr>
          <a:xfrm>
            <a:off x="1" y="0"/>
            <a:ext cx="4830374" cy="6858000"/>
          </a:xfrm>
          <a:custGeom>
            <a:avLst/>
            <a:gdLst>
              <a:gd name="connsiteX0" fmla="*/ 0 w 5232905"/>
              <a:gd name="connsiteY0" fmla="*/ 0 h 6858000"/>
              <a:gd name="connsiteX1" fmla="*/ 5232905 w 5232905"/>
              <a:gd name="connsiteY1" fmla="*/ 0 h 6858000"/>
              <a:gd name="connsiteX2" fmla="*/ 5232905 w 5232905"/>
              <a:gd name="connsiteY2" fmla="*/ 296862 h 6858000"/>
              <a:gd name="connsiteX3" fmla="*/ 4953000 w 5232905"/>
              <a:gd name="connsiteY3" fmla="*/ 296862 h 6858000"/>
              <a:gd name="connsiteX4" fmla="*/ 4953000 w 5232905"/>
              <a:gd name="connsiteY4" fmla="*/ 6453188 h 6858000"/>
              <a:gd name="connsiteX5" fmla="*/ 5232905 w 5232905"/>
              <a:gd name="connsiteY5" fmla="*/ 6453188 h 6858000"/>
              <a:gd name="connsiteX6" fmla="*/ 5232905 w 5232905"/>
              <a:gd name="connsiteY6" fmla="*/ 6858000 h 6858000"/>
              <a:gd name="connsiteX7" fmla="*/ 0 w 5232905"/>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232905" h="6858000">
                <a:moveTo>
                  <a:pt x="0" y="0"/>
                </a:moveTo>
                <a:lnTo>
                  <a:pt x="5232905" y="0"/>
                </a:lnTo>
                <a:lnTo>
                  <a:pt x="5232905" y="296862"/>
                </a:lnTo>
                <a:lnTo>
                  <a:pt x="4953000" y="296862"/>
                </a:lnTo>
                <a:lnTo>
                  <a:pt x="4953000" y="6453188"/>
                </a:lnTo>
                <a:lnTo>
                  <a:pt x="5232905" y="6453188"/>
                </a:lnTo>
                <a:lnTo>
                  <a:pt x="5232905" y="6858000"/>
                </a:lnTo>
                <a:lnTo>
                  <a:pt x="0" y="6858000"/>
                </a:lnTo>
                <a:close/>
              </a:path>
            </a:pathLst>
          </a:custGeom>
          <a:solidFill>
            <a:schemeClr val="accent5">
              <a:lumMod val="75000"/>
            </a:schemeClr>
          </a:solidFill>
        </p:spPr>
        <p:txBody>
          <a:bodyPr wrap="square" lIns="36000" tIns="36000" rIns="36000" bIns="36000" anchor="ctr">
            <a:noAutofit/>
          </a:bodyPr>
          <a:lstStyle>
            <a:lvl1pPr algn="ctr">
              <a:lnSpc>
                <a:spcPct val="100000"/>
              </a:lnSpc>
              <a:spcAft>
                <a:spcPts val="0"/>
              </a:spcAft>
              <a:defRPr>
                <a:solidFill>
                  <a:schemeClr val="bg1"/>
                </a:solidFill>
              </a:defRPr>
            </a:lvl1pPr>
          </a:lstStyle>
          <a:p>
            <a:endParaRPr lang="en-GB" dirty="0"/>
          </a:p>
        </p:txBody>
      </p:sp>
      <p:sp>
        <p:nvSpPr>
          <p:cNvPr id="7" name="txtSecureMarker2" hidden="1"/>
          <p:cNvSpPr txBox="1"/>
          <p:nvPr userDrawn="1"/>
        </p:nvSpPr>
        <p:spPr>
          <a:xfrm>
            <a:off x="6537082" y="6153284"/>
            <a:ext cx="1672681" cy="638209"/>
          </a:xfrm>
          <a:prstGeom prst="rect">
            <a:avLst/>
          </a:prstGeom>
          <a:noFill/>
        </p:spPr>
        <p:txBody>
          <a:bodyPr wrap="square" rtlCol="0" anchor="b" anchorCtr="0">
            <a:no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8" name="txtSecureMarker1" hidden="1"/>
          <p:cNvSpPr txBox="1"/>
          <p:nvPr userDrawn="1"/>
        </p:nvSpPr>
        <p:spPr>
          <a:xfrm>
            <a:off x="6537080" y="-2"/>
            <a:ext cx="1671508" cy="637200"/>
          </a:xfrm>
          <a:prstGeom prst="rect">
            <a:avLst/>
          </a:prstGeom>
          <a:noFill/>
        </p:spPr>
        <p:txBody>
          <a:bodyPr wrap="square" rtlCol="0">
            <a:no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14" name="shpSection">
            <a:extLst>
              <a:ext uri="{FF2B5EF4-FFF2-40B4-BE49-F238E27FC236}">
                <a16:creationId xmlns:a16="http://schemas.microsoft.com/office/drawing/2014/main" id="{2C462A43-E7D0-4D8B-8788-CAF9721D7CCD}"/>
              </a:ext>
            </a:extLst>
          </p:cNvPr>
          <p:cNvSpPr/>
          <p:nvPr userDrawn="1"/>
        </p:nvSpPr>
        <p:spPr>
          <a:xfrm>
            <a:off x="4572000" y="296862"/>
            <a:ext cx="4287716"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endParaRPr lang="en-GB" sz="1662" dirty="0">
              <a:solidFill>
                <a:srgbClr val="FFFFFF"/>
              </a:solidFill>
            </a:endParaRPr>
          </a:p>
        </p:txBody>
      </p:sp>
      <p:sp>
        <p:nvSpPr>
          <p:cNvPr id="13" name="plcSectionNumber"/>
          <p:cNvSpPr>
            <a:spLocks noGrp="1"/>
          </p:cNvSpPr>
          <p:nvPr>
            <p:ph type="body" sz="quarter" idx="15" hasCustomPrompt="1"/>
          </p:nvPr>
        </p:nvSpPr>
        <p:spPr>
          <a:xfrm>
            <a:off x="6778750" y="1706807"/>
            <a:ext cx="1802769" cy="1315824"/>
          </a:xfrm>
        </p:spPr>
        <p:txBody>
          <a:bodyPr rIns="0" anchor="ctr">
            <a:normAutofit/>
          </a:bodyPr>
          <a:lstStyle>
            <a:lvl1pPr algn="r">
              <a:lnSpc>
                <a:spcPct val="80000"/>
              </a:lnSpc>
              <a:spcBef>
                <a:spcPts val="0"/>
              </a:spcBef>
              <a:defRPr sz="9231" b="1" cap="all" spc="-138" baseline="0">
                <a:solidFill>
                  <a:schemeClr val="bg2"/>
                </a:solidFill>
              </a:defRPr>
            </a:lvl1pPr>
            <a:lvl2pPr>
              <a:lnSpc>
                <a:spcPct val="80000"/>
              </a:lnSpc>
              <a:spcBef>
                <a:spcPts val="0"/>
              </a:spcBef>
              <a:defRPr sz="4616" spc="-138">
                <a:solidFill>
                  <a:schemeClr val="bg2"/>
                </a:solidFill>
              </a:defRPr>
            </a:lvl2pPr>
          </a:lstStyle>
          <a:p>
            <a:pPr lvl="0"/>
            <a:r>
              <a:rPr lang="en-US" dirty="0"/>
              <a:t>##</a:t>
            </a:r>
          </a:p>
        </p:txBody>
      </p:sp>
      <p:sp>
        <p:nvSpPr>
          <p:cNvPr id="10" name="plcSectionTitle">
            <a:extLst>
              <a:ext uri="{FF2B5EF4-FFF2-40B4-BE49-F238E27FC236}">
                <a16:creationId xmlns:a16="http://schemas.microsoft.com/office/drawing/2014/main" id="{13355FC8-EA57-4962-8268-3E776272D01A}"/>
              </a:ext>
            </a:extLst>
          </p:cNvPr>
          <p:cNvSpPr>
            <a:spLocks noGrp="1"/>
          </p:cNvSpPr>
          <p:nvPr>
            <p:ph type="body" sz="quarter" idx="13" hasCustomPrompt="1"/>
          </p:nvPr>
        </p:nvSpPr>
        <p:spPr>
          <a:xfrm>
            <a:off x="4855444" y="3183071"/>
            <a:ext cx="3720133" cy="2970213"/>
          </a:xfrm>
        </p:spPr>
        <p:txBody>
          <a:bodyPr tIns="0" rIns="0" bIns="0" anchor="t">
            <a:noAutofit/>
          </a:bodyPr>
          <a:lstStyle>
            <a:lvl1pPr algn="r">
              <a:lnSpc>
                <a:spcPct val="100000"/>
              </a:lnSpc>
              <a:spcBef>
                <a:spcPts val="0"/>
              </a:spcBef>
              <a:spcAft>
                <a:spcPts val="0"/>
              </a:spcAft>
              <a:defRPr sz="2585" b="1" cap="all" spc="0" baseline="0">
                <a:solidFill>
                  <a:schemeClr val="bg2"/>
                </a:solidFill>
              </a:defRPr>
            </a:lvl1pPr>
            <a:lvl2pPr algn="r">
              <a:lnSpc>
                <a:spcPct val="100000"/>
              </a:lnSpc>
              <a:spcBef>
                <a:spcPts val="0"/>
              </a:spcBef>
              <a:spcAft>
                <a:spcPts val="0"/>
              </a:spcAft>
              <a:defRPr sz="1569" b="0" cap="none" spc="0">
                <a:solidFill>
                  <a:srgbClr val="7A91A6"/>
                </a:solidFill>
              </a:defRPr>
            </a:lvl2pPr>
            <a:lvl3pPr algn="r">
              <a:lnSpc>
                <a:spcPct val="100000"/>
              </a:lnSpc>
              <a:spcAft>
                <a:spcPts val="0"/>
              </a:spcAft>
              <a:defRPr sz="1569" spc="0">
                <a:solidFill>
                  <a:srgbClr val="7A91A6"/>
                </a:solidFill>
              </a:defRPr>
            </a:lvl3pPr>
            <a:lvl4pPr marL="0" indent="0" algn="r">
              <a:spcBef>
                <a:spcPts val="0"/>
              </a:spcBef>
              <a:spcAft>
                <a:spcPts val="0"/>
              </a:spcAft>
              <a:buNone/>
              <a:defRPr sz="1569" spc="0">
                <a:solidFill>
                  <a:srgbClr val="7A91A6"/>
                </a:solidFill>
              </a:defRPr>
            </a:lvl4pPr>
            <a:lvl5pPr marL="0" indent="0" algn="r">
              <a:spcBef>
                <a:spcPts val="0"/>
              </a:spcBef>
              <a:spcAft>
                <a:spcPts val="0"/>
              </a:spcAft>
              <a:buNone/>
              <a:defRPr sz="1569" spc="0">
                <a:solidFill>
                  <a:srgbClr val="7A91A6"/>
                </a:solidFill>
              </a:defRPr>
            </a:lvl5pPr>
            <a:lvl6pPr marL="0" indent="0" algn="r">
              <a:lnSpc>
                <a:spcPct val="100000"/>
              </a:lnSpc>
              <a:spcBef>
                <a:spcPts val="0"/>
              </a:spcBef>
              <a:spcAft>
                <a:spcPts val="0"/>
              </a:spcAft>
              <a:buNone/>
              <a:defRPr sz="1569" spc="0">
                <a:solidFill>
                  <a:srgbClr val="7A91A6"/>
                </a:solidFill>
              </a:defRPr>
            </a:lvl6pPr>
            <a:lvl7pPr marL="0" indent="0" algn="r">
              <a:lnSpc>
                <a:spcPct val="100000"/>
              </a:lnSpc>
              <a:spcBef>
                <a:spcPts val="0"/>
              </a:spcBef>
              <a:spcAft>
                <a:spcPts val="0"/>
              </a:spcAft>
              <a:buNone/>
              <a:defRPr sz="1569" spc="0">
                <a:solidFill>
                  <a:srgbClr val="7A91A6"/>
                </a:solidFill>
              </a:defRPr>
            </a:lvl7pPr>
            <a:lvl8pPr marL="0" indent="0" algn="r">
              <a:lnSpc>
                <a:spcPct val="100000"/>
              </a:lnSpc>
              <a:spcBef>
                <a:spcPts val="0"/>
              </a:spcBef>
              <a:spcAft>
                <a:spcPts val="0"/>
              </a:spcAft>
              <a:buNone/>
              <a:defRPr sz="1569" spc="0">
                <a:solidFill>
                  <a:srgbClr val="7A91A6"/>
                </a:solidFill>
              </a:defRPr>
            </a:lvl8pPr>
            <a:lvl9pPr marL="0" indent="0" algn="r">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12093330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3" name="Content Placeholder 2"/>
          <p:cNvSpPr>
            <a:spLocks noGrp="1"/>
          </p:cNvSpPr>
          <p:nvPr>
            <p:ph idx="1"/>
          </p:nvPr>
        </p:nvSpPr>
        <p:spPr>
          <a:xfrm>
            <a:off x="553183" y="1973266"/>
            <a:ext cx="8039833" cy="4192587"/>
          </a:xfrm>
        </p:spPr>
        <p:txBody>
          <a:bodyPr>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7" name="Text Placeholder 7"/>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3857670322"/>
      </p:ext>
    </p:extLst>
  </p:cSld>
  <p:clrMapOvr>
    <a:masterClrMapping/>
  </p:clrMapOvr>
  <p:transition>
    <p:fade/>
  </p:transition>
  <p:extLst mod="1">
    <p:ext uri="{DCECCB84-F9BA-43D5-87BE-67443E8EF086}">
      <p15:sldGuideLst xmlns:p15="http://schemas.microsoft.com/office/powerpoint/2012/main">
        <p15:guide id="2" orient="horz" pos="1243">
          <p15:clr>
            <a:srgbClr val="FBAE40"/>
          </p15:clr>
        </p15:guide>
        <p15:guide id="3" orient="horz" pos="3884">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3" y="1973266"/>
            <a:ext cx="8039833" cy="4192587"/>
          </a:xfrm>
        </p:spPr>
        <p:txBody>
          <a:bodyPr numCol="2" spcCol="180000">
            <a:noAutofit/>
          </a:bodyPr>
          <a:lstStyle>
            <a:lvl5pPr indent="-169486">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4" name="Text Placeholder 7">
            <a:extLst>
              <a:ext uri="{FF2B5EF4-FFF2-40B4-BE49-F238E27FC236}">
                <a16:creationId xmlns:a16="http://schemas.microsoft.com/office/drawing/2014/main" id="{EF153576-1E52-4F22-96D9-1B68FB43BEF5}"/>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376719563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hree Column Text">
    <p:spTree>
      <p:nvGrpSpPr>
        <p:cNvPr id="1" name=""/>
        <p:cNvGrpSpPr/>
        <p:nvPr/>
      </p:nvGrpSpPr>
      <p:grpSpPr>
        <a:xfrm>
          <a:off x="0" y="0"/>
          <a:ext cx="0" cy="0"/>
          <a:chOff x="0" y="0"/>
          <a:chExt cx="0" cy="0"/>
        </a:xfrm>
      </p:grpSpPr>
      <p:sp>
        <p:nvSpPr>
          <p:cNvPr id="6" name="Content Placeholder 2"/>
          <p:cNvSpPr>
            <a:spLocks noGrp="1"/>
          </p:cNvSpPr>
          <p:nvPr>
            <p:ph idx="1"/>
          </p:nvPr>
        </p:nvSpPr>
        <p:spPr>
          <a:xfrm>
            <a:off x="553183" y="1973266"/>
            <a:ext cx="8039833" cy="4192587"/>
          </a:xfrm>
        </p:spPr>
        <p:txBody>
          <a:bodyPr numCol="3"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4" name="Text Placeholder 7">
            <a:extLst>
              <a:ext uri="{FF2B5EF4-FFF2-40B4-BE49-F238E27FC236}">
                <a16:creationId xmlns:a16="http://schemas.microsoft.com/office/drawing/2014/main" id="{41A06AAD-B3B8-4323-BAD9-A04FE84983B2}"/>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1952148117"/>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Numeric Bullets">
    <p:spTree>
      <p:nvGrpSpPr>
        <p:cNvPr id="1" name=""/>
        <p:cNvGrpSpPr/>
        <p:nvPr/>
      </p:nvGrpSpPr>
      <p:grpSpPr>
        <a:xfrm>
          <a:off x="0" y="0"/>
          <a:ext cx="0" cy="0"/>
          <a:chOff x="0" y="0"/>
          <a:chExt cx="0" cy="0"/>
        </a:xfrm>
      </p:grpSpPr>
      <p:sp>
        <p:nvSpPr>
          <p:cNvPr id="7" name="Text Placeholder 7"/>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
        <p:nvSpPr>
          <p:cNvPr id="4" name="Content Placeholder 2">
            <a:extLst>
              <a:ext uri="{FF2B5EF4-FFF2-40B4-BE49-F238E27FC236}">
                <a16:creationId xmlns:a16="http://schemas.microsoft.com/office/drawing/2014/main" id="{6D656BE8-1D05-4BFC-A5E2-C22794724DE6}"/>
              </a:ext>
            </a:extLst>
          </p:cNvPr>
          <p:cNvSpPr>
            <a:spLocks noGrp="1"/>
          </p:cNvSpPr>
          <p:nvPr>
            <p:ph idx="1"/>
          </p:nvPr>
        </p:nvSpPr>
        <p:spPr>
          <a:xfrm>
            <a:off x="553183" y="1973266"/>
            <a:ext cx="8039833" cy="4192587"/>
          </a:xfrm>
        </p:spPr>
        <p:txBody>
          <a:bodyPr>
            <a:noAutofit/>
          </a:bodyPr>
          <a:lstStyle>
            <a:lvl4pPr marL="166163" indent="-169486">
              <a:buFont typeface="+mj-lt"/>
              <a:buAutoNum type="arabicPeriod"/>
              <a:defRPr/>
            </a:lvl4pPr>
            <a:lvl5pPr marL="332324" indent="-169486">
              <a:buFont typeface="+mj-lt"/>
              <a:buAutoNum type="alphaLcPeriod"/>
              <a:defRPr/>
            </a:lvl5pPr>
            <a:lvl6pPr marL="498487" indent="-169486">
              <a:buFont typeface="+mj-lt"/>
              <a:buAutoNum type="romanLcPeriod"/>
              <a:defRPr baseline="0"/>
            </a:lvl6pPr>
            <a:lvl7pPr marL="664649" indent="-169486">
              <a:buFont typeface="+mj-lt"/>
              <a:buAutoNum type="arabicPeriod"/>
              <a:defRPr/>
            </a:lvl7pPr>
            <a:lvl8pPr marL="830811" indent="-169486">
              <a:buFont typeface="+mj-lt"/>
              <a:buAutoNum type="alphaLcPeriod"/>
              <a:defRPr/>
            </a:lvl8pPr>
            <a:lvl9pPr marL="996973" indent="-169486">
              <a:buFont typeface="+mj-lt"/>
              <a:buAutoNum type="romanLcPeriod"/>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Tree>
    <p:extLst>
      <p:ext uri="{BB962C8B-B14F-4D97-AF65-F5344CB8AC3E}">
        <p14:creationId xmlns:p14="http://schemas.microsoft.com/office/powerpoint/2010/main" val="2760134908"/>
      </p:ext>
    </p:extLst>
  </p:cSld>
  <p:clrMapOvr>
    <a:masterClrMapping/>
  </p:clrMapOvr>
  <p:transition>
    <p:fade/>
  </p:transition>
  <p:extLst mod="1">
    <p:ext uri="{DCECCB84-F9BA-43D5-87BE-67443E8EF086}">
      <p15:sldGuideLst xmlns:p15="http://schemas.microsoft.com/office/powerpoint/2012/main">
        <p15:guide id="2" orient="horz" pos="1243">
          <p15:clr>
            <a:srgbClr val="FBAE40"/>
          </p15:clr>
        </p15:guide>
        <p15:guide id="3" orient="horz" pos="3884">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wo Column Content A">
    <p:spTree>
      <p:nvGrpSpPr>
        <p:cNvPr id="1" name=""/>
        <p:cNvGrpSpPr/>
        <p:nvPr/>
      </p:nvGrpSpPr>
      <p:grpSpPr>
        <a:xfrm>
          <a:off x="0" y="0"/>
          <a:ext cx="0" cy="0"/>
          <a:chOff x="0" y="0"/>
          <a:chExt cx="0" cy="0"/>
        </a:xfrm>
      </p:grpSpPr>
      <p:sp>
        <p:nvSpPr>
          <p:cNvPr id="7" name="Content Placeholder 2"/>
          <p:cNvSpPr>
            <a:spLocks noGrp="1"/>
          </p:cNvSpPr>
          <p:nvPr>
            <p:ph idx="18"/>
          </p:nvPr>
        </p:nvSpPr>
        <p:spPr>
          <a:xfrm>
            <a:off x="553181" y="1973266"/>
            <a:ext cx="3871385" cy="4192587"/>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9" name="Content Placeholder 2"/>
          <p:cNvSpPr>
            <a:spLocks noGrp="1"/>
          </p:cNvSpPr>
          <p:nvPr>
            <p:ph idx="19"/>
          </p:nvPr>
        </p:nvSpPr>
        <p:spPr>
          <a:xfrm>
            <a:off x="4720320" y="1973266"/>
            <a:ext cx="3871385" cy="4192587"/>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5" name="Text Placeholder 7">
            <a:extLst>
              <a:ext uri="{FF2B5EF4-FFF2-40B4-BE49-F238E27FC236}">
                <a16:creationId xmlns:a16="http://schemas.microsoft.com/office/drawing/2014/main" id="{063912D5-356E-4BC6-83D8-81F5DECCA7D2}"/>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368530420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lumn Content B">
    <p:spTree>
      <p:nvGrpSpPr>
        <p:cNvPr id="1" name=""/>
        <p:cNvGrpSpPr/>
        <p:nvPr/>
      </p:nvGrpSpPr>
      <p:grpSpPr>
        <a:xfrm>
          <a:off x="0" y="0"/>
          <a:ext cx="0" cy="0"/>
          <a:chOff x="0" y="0"/>
          <a:chExt cx="0" cy="0"/>
        </a:xfrm>
      </p:grpSpPr>
      <p:sp>
        <p:nvSpPr>
          <p:cNvPr id="6" name="Content Placeholder 2"/>
          <p:cNvSpPr>
            <a:spLocks noGrp="1"/>
          </p:cNvSpPr>
          <p:nvPr>
            <p:ph idx="19"/>
          </p:nvPr>
        </p:nvSpPr>
        <p:spPr>
          <a:xfrm>
            <a:off x="553181" y="1973266"/>
            <a:ext cx="4918154" cy="4192587"/>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7" name="Content Placeholder 2"/>
          <p:cNvSpPr>
            <a:spLocks noGrp="1"/>
          </p:cNvSpPr>
          <p:nvPr>
            <p:ph idx="18"/>
          </p:nvPr>
        </p:nvSpPr>
        <p:spPr>
          <a:xfrm>
            <a:off x="5747151" y="1973266"/>
            <a:ext cx="2844554" cy="4192587"/>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5" name="Text Placeholder 7">
            <a:extLst>
              <a:ext uri="{FF2B5EF4-FFF2-40B4-BE49-F238E27FC236}">
                <a16:creationId xmlns:a16="http://schemas.microsoft.com/office/drawing/2014/main" id="{37C7F5CD-B588-459A-929A-7834E96FE826}"/>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48841162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hree Column Content">
    <p:spTree>
      <p:nvGrpSpPr>
        <p:cNvPr id="1" name=""/>
        <p:cNvGrpSpPr/>
        <p:nvPr/>
      </p:nvGrpSpPr>
      <p:grpSpPr>
        <a:xfrm>
          <a:off x="0" y="0"/>
          <a:ext cx="0" cy="0"/>
          <a:chOff x="0" y="0"/>
          <a:chExt cx="0" cy="0"/>
        </a:xfrm>
      </p:grpSpPr>
      <p:sp>
        <p:nvSpPr>
          <p:cNvPr id="7" name="Content Placeholder 2"/>
          <p:cNvSpPr>
            <a:spLocks noGrp="1"/>
          </p:cNvSpPr>
          <p:nvPr>
            <p:ph idx="19"/>
          </p:nvPr>
        </p:nvSpPr>
        <p:spPr>
          <a:xfrm>
            <a:off x="553181" y="1973266"/>
            <a:ext cx="2488985" cy="4192587"/>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8" name="Content Placeholder 2"/>
          <p:cNvSpPr>
            <a:spLocks noGrp="1"/>
          </p:cNvSpPr>
          <p:nvPr>
            <p:ph idx="20"/>
          </p:nvPr>
        </p:nvSpPr>
        <p:spPr>
          <a:xfrm>
            <a:off x="6102720" y="1973266"/>
            <a:ext cx="2488985" cy="4192587"/>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10" name="Content Placeholder 2"/>
          <p:cNvSpPr>
            <a:spLocks noGrp="1"/>
          </p:cNvSpPr>
          <p:nvPr>
            <p:ph idx="21"/>
          </p:nvPr>
        </p:nvSpPr>
        <p:spPr>
          <a:xfrm>
            <a:off x="3327951" y="1973266"/>
            <a:ext cx="2488985" cy="4192587"/>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6" name="Text Placeholder 7">
            <a:extLst>
              <a:ext uri="{FF2B5EF4-FFF2-40B4-BE49-F238E27FC236}">
                <a16:creationId xmlns:a16="http://schemas.microsoft.com/office/drawing/2014/main" id="{329017C4-48CE-4640-A11E-2839C2E02C02}"/>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3826321228"/>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ntent &amp; Image A">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705643" y="296863"/>
            <a:ext cx="4152607"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dirty="0"/>
          </a:p>
        </p:txBody>
      </p:sp>
      <p:sp>
        <p:nvSpPr>
          <p:cNvPr id="6" name="Content Placeholder 2"/>
          <p:cNvSpPr>
            <a:spLocks noGrp="1"/>
          </p:cNvSpPr>
          <p:nvPr>
            <p:ph idx="18"/>
          </p:nvPr>
        </p:nvSpPr>
        <p:spPr>
          <a:xfrm>
            <a:off x="553181" y="1973266"/>
            <a:ext cx="3874708" cy="4192587"/>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5" name="Text Placeholder 7">
            <a:extLst>
              <a:ext uri="{FF2B5EF4-FFF2-40B4-BE49-F238E27FC236}">
                <a16:creationId xmlns:a16="http://schemas.microsoft.com/office/drawing/2014/main" id="{3DA9B662-B55E-4E23-A75D-362D99F82737}"/>
              </a:ext>
            </a:extLst>
          </p:cNvPr>
          <p:cNvSpPr>
            <a:spLocks noGrp="1"/>
          </p:cNvSpPr>
          <p:nvPr>
            <p:ph type="body" sz="quarter" idx="13" hasCustomPrompt="1"/>
          </p:nvPr>
        </p:nvSpPr>
        <p:spPr>
          <a:xfrm>
            <a:off x="553181" y="586862"/>
            <a:ext cx="3874708"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720992650"/>
      </p:ext>
    </p:extLst>
  </p:cSld>
  <p:clrMapOvr>
    <a:masterClrMapping/>
  </p:clrMapOvr>
  <p:transition>
    <p:fade/>
  </p:transition>
  <p:extLst mod="1">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ntent &amp; Image B">
    <p:spTree>
      <p:nvGrpSpPr>
        <p:cNvPr id="1" name=""/>
        <p:cNvGrpSpPr/>
        <p:nvPr/>
      </p:nvGrpSpPr>
      <p:grpSpPr>
        <a:xfrm>
          <a:off x="0" y="0"/>
          <a:ext cx="0" cy="0"/>
          <a:chOff x="0" y="0"/>
          <a:chExt cx="0" cy="0"/>
        </a:xfrm>
      </p:grpSpPr>
      <p:sp>
        <p:nvSpPr>
          <p:cNvPr id="8" name="Content Placeholder 2"/>
          <p:cNvSpPr>
            <a:spLocks noGrp="1"/>
          </p:cNvSpPr>
          <p:nvPr>
            <p:ph idx="18"/>
          </p:nvPr>
        </p:nvSpPr>
        <p:spPr>
          <a:xfrm>
            <a:off x="4715377" y="1973266"/>
            <a:ext cx="3874708" cy="4192587"/>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9" name="Picture Placeholder 3"/>
          <p:cNvSpPr>
            <a:spLocks noGrp="1"/>
          </p:cNvSpPr>
          <p:nvPr>
            <p:ph type="pic" sz="quarter" idx="15"/>
          </p:nvPr>
        </p:nvSpPr>
        <p:spPr>
          <a:xfrm>
            <a:off x="284286" y="296863"/>
            <a:ext cx="4154071"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dirty="0"/>
          </a:p>
        </p:txBody>
      </p:sp>
      <p:sp>
        <p:nvSpPr>
          <p:cNvPr id="6" name="Text Placeholder 7">
            <a:extLst>
              <a:ext uri="{FF2B5EF4-FFF2-40B4-BE49-F238E27FC236}">
                <a16:creationId xmlns:a16="http://schemas.microsoft.com/office/drawing/2014/main" id="{2AEB0693-436E-4A56-BF72-9F3FF3F5E0EA}"/>
              </a:ext>
            </a:extLst>
          </p:cNvPr>
          <p:cNvSpPr>
            <a:spLocks noGrp="1"/>
          </p:cNvSpPr>
          <p:nvPr>
            <p:ph type="body" sz="quarter" idx="19" hasCustomPrompt="1"/>
          </p:nvPr>
        </p:nvSpPr>
        <p:spPr>
          <a:xfrm>
            <a:off x="4715377" y="586862"/>
            <a:ext cx="3876328"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2818488476"/>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lstStyle>
            <a:lvl1pPr algn="l">
              <a:defRPr sz="3000" b="1" cap="all"/>
            </a:lvl1pPr>
          </a:lstStyle>
          <a:p>
            <a:r>
              <a:rPr lang="en-US" smtClean="0"/>
              <a:t>Click to edit Master title style</a:t>
            </a:r>
            <a:endParaRPr lang="en-GB"/>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
        <p:nvSpPr>
          <p:cNvPr id="4" name="Rectangle 6"/>
          <p:cNvSpPr>
            <a:spLocks noGrp="1" noChangeArrowheads="1"/>
          </p:cNvSpPr>
          <p:nvPr>
            <p:ph type="sldNum" sz="quarter" idx="10"/>
          </p:nvPr>
        </p:nvSpPr>
        <p:spPr>
          <a:ln/>
        </p:spPr>
        <p:txBody>
          <a:bodyPr/>
          <a:lstStyle>
            <a:lvl1pPr>
              <a:defRPr/>
            </a:lvl1pPr>
          </a:lstStyle>
          <a:p>
            <a:pPr>
              <a:defRPr/>
            </a:pPr>
            <a:fld id="{D10240AA-B52B-44CF-BDEF-5A0193463AE4}"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11176775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wo Column Content &amp; Images">
    <p:spTree>
      <p:nvGrpSpPr>
        <p:cNvPr id="1" name=""/>
        <p:cNvGrpSpPr/>
        <p:nvPr/>
      </p:nvGrpSpPr>
      <p:grpSpPr>
        <a:xfrm>
          <a:off x="0" y="0"/>
          <a:ext cx="0" cy="0"/>
          <a:chOff x="0" y="0"/>
          <a:chExt cx="0" cy="0"/>
        </a:xfrm>
      </p:grpSpPr>
      <p:sp>
        <p:nvSpPr>
          <p:cNvPr id="11" name="Picture Placeholder 3"/>
          <p:cNvSpPr>
            <a:spLocks noGrp="1"/>
          </p:cNvSpPr>
          <p:nvPr>
            <p:ph type="pic" sz="quarter" idx="15"/>
          </p:nvPr>
        </p:nvSpPr>
        <p:spPr>
          <a:xfrm>
            <a:off x="550984" y="1982473"/>
            <a:ext cx="3882929"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dirty="0"/>
          </a:p>
        </p:txBody>
      </p:sp>
      <p:sp>
        <p:nvSpPr>
          <p:cNvPr id="9" name="Picture Placeholder 3"/>
          <p:cNvSpPr>
            <a:spLocks noGrp="1"/>
          </p:cNvSpPr>
          <p:nvPr>
            <p:ph type="pic" sz="quarter" idx="18"/>
          </p:nvPr>
        </p:nvSpPr>
        <p:spPr>
          <a:xfrm>
            <a:off x="4710087" y="1982473"/>
            <a:ext cx="3882929"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dirty="0"/>
          </a:p>
        </p:txBody>
      </p:sp>
      <p:sp>
        <p:nvSpPr>
          <p:cNvPr id="12" name="Content Placeholder 2"/>
          <p:cNvSpPr>
            <a:spLocks noGrp="1"/>
          </p:cNvSpPr>
          <p:nvPr>
            <p:ph idx="24"/>
          </p:nvPr>
        </p:nvSpPr>
        <p:spPr>
          <a:xfrm>
            <a:off x="553183" y="3177540"/>
            <a:ext cx="3884677" cy="2988310"/>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13" name="Content Placeholder 2"/>
          <p:cNvSpPr>
            <a:spLocks noGrp="1"/>
          </p:cNvSpPr>
          <p:nvPr>
            <p:ph idx="25"/>
          </p:nvPr>
        </p:nvSpPr>
        <p:spPr>
          <a:xfrm>
            <a:off x="4708339" y="3177540"/>
            <a:ext cx="3884677" cy="2988310"/>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8" name="Text Placeholder 7">
            <a:extLst>
              <a:ext uri="{FF2B5EF4-FFF2-40B4-BE49-F238E27FC236}">
                <a16:creationId xmlns:a16="http://schemas.microsoft.com/office/drawing/2014/main" id="{90CE484C-B547-46FA-97E8-743FBFC7D739}"/>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3421811061"/>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lumn Content &amp; Images">
    <p:spTree>
      <p:nvGrpSpPr>
        <p:cNvPr id="1" name=""/>
        <p:cNvGrpSpPr/>
        <p:nvPr/>
      </p:nvGrpSpPr>
      <p:grpSpPr>
        <a:xfrm>
          <a:off x="0" y="0"/>
          <a:ext cx="0" cy="0"/>
          <a:chOff x="0" y="0"/>
          <a:chExt cx="0" cy="0"/>
        </a:xfrm>
      </p:grpSpPr>
      <p:sp>
        <p:nvSpPr>
          <p:cNvPr id="11" name="Content Placeholder 2"/>
          <p:cNvSpPr>
            <a:spLocks noGrp="1"/>
          </p:cNvSpPr>
          <p:nvPr>
            <p:ph idx="24"/>
          </p:nvPr>
        </p:nvSpPr>
        <p:spPr>
          <a:xfrm>
            <a:off x="553183" y="3177540"/>
            <a:ext cx="2528862" cy="2988310"/>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17" name="Picture Placeholder 3"/>
          <p:cNvSpPr>
            <a:spLocks noGrp="1"/>
          </p:cNvSpPr>
          <p:nvPr>
            <p:ph type="pic" sz="quarter" idx="15"/>
          </p:nvPr>
        </p:nvSpPr>
        <p:spPr>
          <a:xfrm>
            <a:off x="550986" y="1982473"/>
            <a:ext cx="2527064"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dirty="0"/>
          </a:p>
        </p:txBody>
      </p:sp>
      <p:sp>
        <p:nvSpPr>
          <p:cNvPr id="19" name="Picture Placeholder 3"/>
          <p:cNvSpPr>
            <a:spLocks noGrp="1"/>
          </p:cNvSpPr>
          <p:nvPr>
            <p:ph type="pic" sz="quarter" idx="20"/>
          </p:nvPr>
        </p:nvSpPr>
        <p:spPr>
          <a:xfrm>
            <a:off x="6065953" y="1982473"/>
            <a:ext cx="2527064"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dirty="0"/>
          </a:p>
        </p:txBody>
      </p:sp>
      <p:sp>
        <p:nvSpPr>
          <p:cNvPr id="20" name="Picture Placeholder 3"/>
          <p:cNvSpPr>
            <a:spLocks noGrp="1"/>
          </p:cNvSpPr>
          <p:nvPr>
            <p:ph type="pic" sz="quarter" idx="21"/>
          </p:nvPr>
        </p:nvSpPr>
        <p:spPr>
          <a:xfrm>
            <a:off x="3308470" y="1982473"/>
            <a:ext cx="2527064" cy="1058863"/>
          </a:xfrm>
          <a:solidFill>
            <a:schemeClr val="accent5">
              <a:lumMod val="75000"/>
            </a:schemeClr>
          </a:solidFill>
        </p:spPr>
        <p:txBody>
          <a:bodyPr lIns="36000" tIns="36000" rIns="36000" bIns="36000" anchor="ctr">
            <a:normAutofit/>
          </a:bodyPr>
          <a:lstStyle>
            <a:lvl1pPr algn="ctr">
              <a:lnSpc>
                <a:spcPct val="100000"/>
              </a:lnSpc>
              <a:spcAft>
                <a:spcPts val="0"/>
              </a:spcAft>
              <a:defRPr sz="1292">
                <a:solidFill>
                  <a:schemeClr val="bg1"/>
                </a:solidFill>
              </a:defRPr>
            </a:lvl1pPr>
          </a:lstStyle>
          <a:p>
            <a:endParaRPr lang="en-GB" dirty="0"/>
          </a:p>
        </p:txBody>
      </p:sp>
      <p:sp>
        <p:nvSpPr>
          <p:cNvPr id="14" name="Content Placeholder 2"/>
          <p:cNvSpPr>
            <a:spLocks noGrp="1"/>
          </p:cNvSpPr>
          <p:nvPr>
            <p:ph idx="25"/>
          </p:nvPr>
        </p:nvSpPr>
        <p:spPr>
          <a:xfrm>
            <a:off x="6064155" y="3177540"/>
            <a:ext cx="2528862" cy="2988310"/>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15" name="Content Placeholder 2"/>
          <p:cNvSpPr>
            <a:spLocks noGrp="1"/>
          </p:cNvSpPr>
          <p:nvPr>
            <p:ph idx="26"/>
          </p:nvPr>
        </p:nvSpPr>
        <p:spPr>
          <a:xfrm>
            <a:off x="3306671" y="3177540"/>
            <a:ext cx="2528862" cy="2988310"/>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9" name="Text Placeholder 7">
            <a:extLst>
              <a:ext uri="{FF2B5EF4-FFF2-40B4-BE49-F238E27FC236}">
                <a16:creationId xmlns:a16="http://schemas.microsoft.com/office/drawing/2014/main" id="{EC0B0766-1B80-4503-80C6-5380F28D7E46}"/>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140512730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wo Numbered Sections">
    <p:spTree>
      <p:nvGrpSpPr>
        <p:cNvPr id="1" name=""/>
        <p:cNvGrpSpPr/>
        <p:nvPr/>
      </p:nvGrpSpPr>
      <p:grpSpPr>
        <a:xfrm>
          <a:off x="0" y="0"/>
          <a:ext cx="0" cy="0"/>
          <a:chOff x="0" y="0"/>
          <a:chExt cx="0" cy="0"/>
        </a:xfrm>
      </p:grpSpPr>
      <p:sp>
        <p:nvSpPr>
          <p:cNvPr id="11" name="Text Placeholder 3"/>
          <p:cNvSpPr>
            <a:spLocks noGrp="1"/>
          </p:cNvSpPr>
          <p:nvPr>
            <p:ph type="body" sz="quarter" idx="20" hasCustomPrompt="1"/>
          </p:nvPr>
        </p:nvSpPr>
        <p:spPr>
          <a:xfrm>
            <a:off x="550985" y="1973266"/>
            <a:ext cx="648000" cy="4192587"/>
          </a:xfrm>
          <a:solidFill>
            <a:schemeClr val="bg2"/>
          </a:solidFill>
        </p:spPr>
        <p:txBody>
          <a:bodyPr lIns="36000" tIns="0" rIns="36000" bIns="0" anchor="b">
            <a:normAutofit/>
          </a:bodyPr>
          <a:lstStyle>
            <a:lvl1pPr algn="ctr">
              <a:defRPr sz="3323" b="1">
                <a:solidFill>
                  <a:srgbClr val="FFFFFF"/>
                </a:solidFill>
              </a:defRPr>
            </a:lvl1pPr>
          </a:lstStyle>
          <a:p>
            <a:pPr lvl="0"/>
            <a:r>
              <a:rPr lang="en-US" dirty="0"/>
              <a:t>##</a:t>
            </a:r>
          </a:p>
        </p:txBody>
      </p:sp>
      <p:sp>
        <p:nvSpPr>
          <p:cNvPr id="13" name="Text Placeholder 3"/>
          <p:cNvSpPr>
            <a:spLocks noGrp="1"/>
          </p:cNvSpPr>
          <p:nvPr>
            <p:ph type="body" sz="quarter" idx="21" hasCustomPrompt="1"/>
          </p:nvPr>
        </p:nvSpPr>
        <p:spPr>
          <a:xfrm>
            <a:off x="4708204" y="1973266"/>
            <a:ext cx="648000" cy="4192587"/>
          </a:xfrm>
          <a:solidFill>
            <a:schemeClr val="accent4"/>
          </a:solidFill>
        </p:spPr>
        <p:txBody>
          <a:bodyPr lIns="36000" tIns="0" rIns="36000" bIns="0" anchor="b">
            <a:normAutofit/>
          </a:bodyPr>
          <a:lstStyle>
            <a:lvl1pPr algn="ctr">
              <a:defRPr sz="3323" b="1">
                <a:solidFill>
                  <a:schemeClr val="bg1"/>
                </a:solidFill>
              </a:defRPr>
            </a:lvl1pPr>
          </a:lstStyle>
          <a:p>
            <a:pPr lvl="0"/>
            <a:r>
              <a:rPr lang="en-US" dirty="0"/>
              <a:t>##</a:t>
            </a:r>
          </a:p>
        </p:txBody>
      </p:sp>
      <p:sp>
        <p:nvSpPr>
          <p:cNvPr id="8" name="Content Placeholder 2"/>
          <p:cNvSpPr>
            <a:spLocks noGrp="1"/>
          </p:cNvSpPr>
          <p:nvPr>
            <p:ph idx="24"/>
          </p:nvPr>
        </p:nvSpPr>
        <p:spPr>
          <a:xfrm>
            <a:off x="1371601" y="1973263"/>
            <a:ext cx="3027323" cy="4194000"/>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10" name="Content Placeholder 2"/>
          <p:cNvSpPr>
            <a:spLocks noGrp="1"/>
          </p:cNvSpPr>
          <p:nvPr>
            <p:ph idx="25"/>
          </p:nvPr>
        </p:nvSpPr>
        <p:spPr>
          <a:xfrm>
            <a:off x="5564382" y="1973263"/>
            <a:ext cx="3027323" cy="4194000"/>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h level</a:t>
            </a:r>
          </a:p>
          <a:p>
            <a:pPr lvl="8"/>
            <a:r>
              <a:rPr lang="en-GB" dirty="0"/>
              <a:t>Ninth level</a:t>
            </a:r>
          </a:p>
        </p:txBody>
      </p:sp>
      <p:sp>
        <p:nvSpPr>
          <p:cNvPr id="7" name="Text Placeholder 7">
            <a:extLst>
              <a:ext uri="{FF2B5EF4-FFF2-40B4-BE49-F238E27FC236}">
                <a16:creationId xmlns:a16="http://schemas.microsoft.com/office/drawing/2014/main" id="{64A95D66-B116-49F1-B2B1-022CA45F4F4D}"/>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1276304886"/>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our Numbered Sections">
    <p:spTree>
      <p:nvGrpSpPr>
        <p:cNvPr id="1" name=""/>
        <p:cNvGrpSpPr/>
        <p:nvPr/>
      </p:nvGrpSpPr>
      <p:grpSpPr>
        <a:xfrm>
          <a:off x="0" y="0"/>
          <a:ext cx="0" cy="0"/>
          <a:chOff x="0" y="0"/>
          <a:chExt cx="0" cy="0"/>
        </a:xfrm>
      </p:grpSpPr>
      <p:sp>
        <p:nvSpPr>
          <p:cNvPr id="21" name="Text Placeholder 3"/>
          <p:cNvSpPr>
            <a:spLocks noGrp="1"/>
          </p:cNvSpPr>
          <p:nvPr>
            <p:ph type="body" sz="quarter" idx="25" hasCustomPrompt="1"/>
          </p:nvPr>
        </p:nvSpPr>
        <p:spPr>
          <a:xfrm>
            <a:off x="550985" y="1973263"/>
            <a:ext cx="648000" cy="2026800"/>
          </a:xfrm>
          <a:solidFill>
            <a:schemeClr val="bg2"/>
          </a:solidFill>
        </p:spPr>
        <p:txBody>
          <a:bodyPr lIns="36000" tIns="0" rIns="36000" bIns="0" anchor="b">
            <a:normAutofit/>
          </a:bodyPr>
          <a:lstStyle>
            <a:lvl1pPr algn="ctr">
              <a:defRPr sz="3323" b="1">
                <a:solidFill>
                  <a:srgbClr val="FFFFFF"/>
                </a:solidFill>
              </a:defRPr>
            </a:lvl1pPr>
          </a:lstStyle>
          <a:p>
            <a:pPr lvl="0"/>
            <a:r>
              <a:rPr lang="en-US" dirty="0"/>
              <a:t>##</a:t>
            </a:r>
          </a:p>
        </p:txBody>
      </p:sp>
      <p:sp>
        <p:nvSpPr>
          <p:cNvPr id="22" name="Text Placeholder 3"/>
          <p:cNvSpPr>
            <a:spLocks noGrp="1"/>
          </p:cNvSpPr>
          <p:nvPr>
            <p:ph type="body" sz="quarter" idx="26" hasCustomPrompt="1"/>
          </p:nvPr>
        </p:nvSpPr>
        <p:spPr>
          <a:xfrm>
            <a:off x="4708204" y="1973263"/>
            <a:ext cx="648000" cy="2026800"/>
          </a:xfrm>
          <a:solidFill>
            <a:schemeClr val="accent4"/>
          </a:solidFill>
        </p:spPr>
        <p:txBody>
          <a:bodyPr lIns="36000" tIns="0" rIns="36000" bIns="0" anchor="b">
            <a:normAutofit/>
          </a:bodyPr>
          <a:lstStyle>
            <a:lvl1pPr algn="ctr">
              <a:defRPr sz="3323" b="1">
                <a:solidFill>
                  <a:schemeClr val="bg1"/>
                </a:solidFill>
              </a:defRPr>
            </a:lvl1pPr>
          </a:lstStyle>
          <a:p>
            <a:pPr lvl="0"/>
            <a:r>
              <a:rPr lang="en-US" dirty="0"/>
              <a:t>##</a:t>
            </a:r>
          </a:p>
        </p:txBody>
      </p:sp>
      <p:sp>
        <p:nvSpPr>
          <p:cNvPr id="25" name="Text Placeholder 3"/>
          <p:cNvSpPr>
            <a:spLocks noGrp="1"/>
          </p:cNvSpPr>
          <p:nvPr>
            <p:ph type="body" sz="quarter" idx="27" hasCustomPrompt="1"/>
          </p:nvPr>
        </p:nvSpPr>
        <p:spPr>
          <a:xfrm>
            <a:off x="550985" y="4139050"/>
            <a:ext cx="648000" cy="2026800"/>
          </a:xfrm>
          <a:solidFill>
            <a:schemeClr val="accent4"/>
          </a:solidFill>
        </p:spPr>
        <p:txBody>
          <a:bodyPr lIns="36000" tIns="0" rIns="36000" bIns="0" anchor="b">
            <a:normAutofit/>
          </a:bodyPr>
          <a:lstStyle>
            <a:lvl1pPr algn="ctr">
              <a:defRPr sz="3323" b="1">
                <a:solidFill>
                  <a:schemeClr val="bg1"/>
                </a:solidFill>
              </a:defRPr>
            </a:lvl1pPr>
          </a:lstStyle>
          <a:p>
            <a:pPr lvl="0"/>
            <a:r>
              <a:rPr lang="en-US" dirty="0"/>
              <a:t>##</a:t>
            </a:r>
          </a:p>
        </p:txBody>
      </p:sp>
      <p:sp>
        <p:nvSpPr>
          <p:cNvPr id="26" name="Text Placeholder 3"/>
          <p:cNvSpPr>
            <a:spLocks noGrp="1"/>
          </p:cNvSpPr>
          <p:nvPr>
            <p:ph type="body" sz="quarter" idx="28" hasCustomPrompt="1"/>
          </p:nvPr>
        </p:nvSpPr>
        <p:spPr>
          <a:xfrm>
            <a:off x="4708204" y="4141102"/>
            <a:ext cx="648000" cy="2026800"/>
          </a:xfrm>
          <a:solidFill>
            <a:schemeClr val="bg2"/>
          </a:solidFill>
        </p:spPr>
        <p:txBody>
          <a:bodyPr lIns="36000" tIns="0" rIns="36000" bIns="0" anchor="b">
            <a:normAutofit/>
          </a:bodyPr>
          <a:lstStyle>
            <a:lvl1pPr algn="ctr">
              <a:defRPr sz="3323" b="1">
                <a:solidFill>
                  <a:srgbClr val="FFFFFF"/>
                </a:solidFill>
              </a:defRPr>
            </a:lvl1pPr>
          </a:lstStyle>
          <a:p>
            <a:pPr lvl="0"/>
            <a:r>
              <a:rPr lang="en-US" dirty="0"/>
              <a:t>##</a:t>
            </a:r>
          </a:p>
        </p:txBody>
      </p:sp>
      <p:sp>
        <p:nvSpPr>
          <p:cNvPr id="17" name="Content Placeholder 2"/>
          <p:cNvSpPr>
            <a:spLocks noGrp="1"/>
          </p:cNvSpPr>
          <p:nvPr>
            <p:ph idx="24"/>
          </p:nvPr>
        </p:nvSpPr>
        <p:spPr>
          <a:xfrm>
            <a:off x="1371601" y="1973263"/>
            <a:ext cx="3027323" cy="2026800"/>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8" name="Content Placeholder 2"/>
          <p:cNvSpPr>
            <a:spLocks noGrp="1"/>
          </p:cNvSpPr>
          <p:nvPr>
            <p:ph idx="30"/>
          </p:nvPr>
        </p:nvSpPr>
        <p:spPr>
          <a:xfrm>
            <a:off x="1371601" y="4139050"/>
            <a:ext cx="3027323" cy="2026800"/>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9" name="Content Placeholder 2"/>
          <p:cNvSpPr>
            <a:spLocks noGrp="1"/>
          </p:cNvSpPr>
          <p:nvPr>
            <p:ph idx="31"/>
          </p:nvPr>
        </p:nvSpPr>
        <p:spPr>
          <a:xfrm>
            <a:off x="5564382" y="1973263"/>
            <a:ext cx="3027323" cy="2026800"/>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20" name="Content Placeholder 2"/>
          <p:cNvSpPr>
            <a:spLocks noGrp="1"/>
          </p:cNvSpPr>
          <p:nvPr>
            <p:ph idx="32"/>
          </p:nvPr>
        </p:nvSpPr>
        <p:spPr>
          <a:xfrm>
            <a:off x="5564382" y="4139050"/>
            <a:ext cx="3027323" cy="2026800"/>
          </a:xfrm>
        </p:spPr>
        <p:txBody>
          <a:bodyPr numCol="1" spcCol="180000">
            <a:noAutofit/>
          </a:bodyPr>
          <a:lstStyle>
            <a:lvl5pPr>
              <a:defRPr/>
            </a:lvl5pPr>
            <a:lvl6pPr>
              <a:defRPr baseline="0"/>
            </a:lvl6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p:txBody>
      </p:sp>
      <p:sp>
        <p:nvSpPr>
          <p:cNvPr id="12" name="Text Placeholder 7">
            <a:extLst>
              <a:ext uri="{FF2B5EF4-FFF2-40B4-BE49-F238E27FC236}">
                <a16:creationId xmlns:a16="http://schemas.microsoft.com/office/drawing/2014/main" id="{CE70EEE8-B0C0-4305-8EE6-42F4FBBF1B86}"/>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3492628119"/>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Six Tiles A">
    <p:spTree>
      <p:nvGrpSpPr>
        <p:cNvPr id="1" name=""/>
        <p:cNvGrpSpPr/>
        <p:nvPr/>
      </p:nvGrpSpPr>
      <p:grpSpPr>
        <a:xfrm>
          <a:off x="0" y="0"/>
          <a:ext cx="0" cy="0"/>
          <a:chOff x="0" y="0"/>
          <a:chExt cx="0" cy="0"/>
        </a:xfrm>
      </p:grpSpPr>
      <p:sp>
        <p:nvSpPr>
          <p:cNvPr id="20" name="Rectangle 19"/>
          <p:cNvSpPr>
            <a:spLocks/>
          </p:cNvSpPr>
          <p:nvPr userDrawn="1"/>
        </p:nvSpPr>
        <p:spPr>
          <a:xfrm>
            <a:off x="6003439" y="296862"/>
            <a:ext cx="2857846"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dirty="0"/>
          </a:p>
        </p:txBody>
      </p:sp>
      <p:sp>
        <p:nvSpPr>
          <p:cNvPr id="21" name="Picture Placeholder 3"/>
          <p:cNvSpPr>
            <a:spLocks noGrp="1"/>
          </p:cNvSpPr>
          <p:nvPr>
            <p:ph type="pic" sz="quarter" idx="21"/>
          </p:nvPr>
        </p:nvSpPr>
        <p:spPr>
          <a:xfrm>
            <a:off x="6003439" y="3374700"/>
            <a:ext cx="2857846" cy="3078326"/>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dirty="0"/>
          </a:p>
        </p:txBody>
      </p:sp>
      <p:sp>
        <p:nvSpPr>
          <p:cNvPr id="49" name="Rectangle 48"/>
          <p:cNvSpPr>
            <a:spLocks/>
          </p:cNvSpPr>
          <p:nvPr userDrawn="1"/>
        </p:nvSpPr>
        <p:spPr>
          <a:xfrm>
            <a:off x="3143078" y="3374862"/>
            <a:ext cx="2857846" cy="3078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dirty="0"/>
          </a:p>
        </p:txBody>
      </p:sp>
      <p:sp>
        <p:nvSpPr>
          <p:cNvPr id="13" name="Picture Placeholder 3"/>
          <p:cNvSpPr>
            <a:spLocks noGrp="1"/>
          </p:cNvSpPr>
          <p:nvPr>
            <p:ph type="pic" sz="quarter" idx="20"/>
          </p:nvPr>
        </p:nvSpPr>
        <p:spPr>
          <a:xfrm>
            <a:off x="3143078" y="296862"/>
            <a:ext cx="2857846" cy="3078000"/>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dirty="0"/>
          </a:p>
        </p:txBody>
      </p:sp>
      <p:sp>
        <p:nvSpPr>
          <p:cNvPr id="17" name="Picture Placeholder 3"/>
          <p:cNvSpPr>
            <a:spLocks noGrp="1"/>
          </p:cNvSpPr>
          <p:nvPr>
            <p:ph type="pic" sz="quarter" idx="22"/>
          </p:nvPr>
        </p:nvSpPr>
        <p:spPr>
          <a:xfrm>
            <a:off x="284286" y="3374700"/>
            <a:ext cx="2857846" cy="3078326"/>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dirty="0"/>
          </a:p>
        </p:txBody>
      </p:sp>
      <p:sp>
        <p:nvSpPr>
          <p:cNvPr id="11" name="Content Placeholder 2">
            <a:extLst>
              <a:ext uri="{FF2B5EF4-FFF2-40B4-BE49-F238E27FC236}">
                <a16:creationId xmlns:a16="http://schemas.microsoft.com/office/drawing/2014/main" id="{4BD812DD-A811-4067-A639-C64DB2503729}"/>
              </a:ext>
            </a:extLst>
          </p:cNvPr>
          <p:cNvSpPr>
            <a:spLocks noGrp="1"/>
          </p:cNvSpPr>
          <p:nvPr>
            <p:ph idx="1" hasCustomPrompt="1"/>
          </p:nvPr>
        </p:nvSpPr>
        <p:spPr>
          <a:xfrm>
            <a:off x="6240421"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endParaRPr lang="en-GB" dirty="0"/>
          </a:p>
        </p:txBody>
      </p:sp>
      <p:sp>
        <p:nvSpPr>
          <p:cNvPr id="22" name="Text Placeholder 7">
            <a:extLst>
              <a:ext uri="{FF2B5EF4-FFF2-40B4-BE49-F238E27FC236}">
                <a16:creationId xmlns:a16="http://schemas.microsoft.com/office/drawing/2014/main" id="{633A53F3-BBD2-4702-B85E-F831DDBB7101}"/>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
        <p:nvSpPr>
          <p:cNvPr id="23" name="Content Placeholder 2">
            <a:extLst>
              <a:ext uri="{FF2B5EF4-FFF2-40B4-BE49-F238E27FC236}">
                <a16:creationId xmlns:a16="http://schemas.microsoft.com/office/drawing/2014/main" id="{5ACB64B3-597C-4E06-A540-2BA6886A0AB6}"/>
              </a:ext>
            </a:extLst>
          </p:cNvPr>
          <p:cNvSpPr>
            <a:spLocks noGrp="1"/>
          </p:cNvSpPr>
          <p:nvPr>
            <p:ph idx="23" hasCustomPrompt="1"/>
          </p:nvPr>
        </p:nvSpPr>
        <p:spPr>
          <a:xfrm>
            <a:off x="3380059"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endParaRPr lang="en-GB" dirty="0"/>
          </a:p>
        </p:txBody>
      </p:sp>
    </p:spTree>
    <p:extLst>
      <p:ext uri="{BB962C8B-B14F-4D97-AF65-F5344CB8AC3E}">
        <p14:creationId xmlns:p14="http://schemas.microsoft.com/office/powerpoint/2010/main" val="400829568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Six Tiles B">
    <p:spTree>
      <p:nvGrpSpPr>
        <p:cNvPr id="1" name=""/>
        <p:cNvGrpSpPr/>
        <p:nvPr/>
      </p:nvGrpSpPr>
      <p:grpSpPr>
        <a:xfrm>
          <a:off x="0" y="0"/>
          <a:ext cx="0" cy="0"/>
          <a:chOff x="0" y="0"/>
          <a:chExt cx="0" cy="0"/>
        </a:xfrm>
      </p:grpSpPr>
      <p:sp>
        <p:nvSpPr>
          <p:cNvPr id="24" name="Picture Placeholder 3"/>
          <p:cNvSpPr>
            <a:spLocks noGrp="1"/>
          </p:cNvSpPr>
          <p:nvPr>
            <p:ph type="pic" sz="quarter" idx="25"/>
          </p:nvPr>
        </p:nvSpPr>
        <p:spPr>
          <a:xfrm>
            <a:off x="3143078" y="3374862"/>
            <a:ext cx="2857846" cy="3078326"/>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dirty="0"/>
          </a:p>
        </p:txBody>
      </p:sp>
      <p:sp>
        <p:nvSpPr>
          <p:cNvPr id="14" name="Rectangle 13"/>
          <p:cNvSpPr>
            <a:spLocks/>
          </p:cNvSpPr>
          <p:nvPr userDrawn="1"/>
        </p:nvSpPr>
        <p:spPr>
          <a:xfrm>
            <a:off x="284287" y="3374862"/>
            <a:ext cx="2861163"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dirty="0"/>
          </a:p>
        </p:txBody>
      </p:sp>
      <p:sp>
        <p:nvSpPr>
          <p:cNvPr id="49" name="Rectangle 48"/>
          <p:cNvSpPr>
            <a:spLocks/>
          </p:cNvSpPr>
          <p:nvPr userDrawn="1"/>
        </p:nvSpPr>
        <p:spPr>
          <a:xfrm>
            <a:off x="3142132" y="296862"/>
            <a:ext cx="2860817" cy="307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dirty="0"/>
          </a:p>
        </p:txBody>
      </p:sp>
      <p:sp>
        <p:nvSpPr>
          <p:cNvPr id="22" name="Picture Placeholder 3"/>
          <p:cNvSpPr>
            <a:spLocks noGrp="1"/>
          </p:cNvSpPr>
          <p:nvPr>
            <p:ph type="pic" sz="quarter" idx="22"/>
          </p:nvPr>
        </p:nvSpPr>
        <p:spPr>
          <a:xfrm>
            <a:off x="284286" y="296862"/>
            <a:ext cx="2857846" cy="3078000"/>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dirty="0"/>
          </a:p>
        </p:txBody>
      </p:sp>
      <p:sp>
        <p:nvSpPr>
          <p:cNvPr id="16" name="Picture Placeholder 3"/>
          <p:cNvSpPr>
            <a:spLocks noGrp="1"/>
          </p:cNvSpPr>
          <p:nvPr>
            <p:ph type="pic" sz="quarter" idx="26"/>
          </p:nvPr>
        </p:nvSpPr>
        <p:spPr>
          <a:xfrm>
            <a:off x="6000850" y="296862"/>
            <a:ext cx="2857846" cy="3078000"/>
          </a:xfrm>
          <a:solidFill>
            <a:schemeClr val="accent5">
              <a:lumMod val="75000"/>
            </a:schemeClr>
          </a:solidFill>
        </p:spPr>
        <p:txBody>
          <a:bodyPr lIns="36000" tIns="36000" rIns="36000" bIns="36000" anchor="ctr">
            <a:normAutofit/>
          </a:bodyPr>
          <a:lstStyle>
            <a:lvl1pPr algn="ctr">
              <a:lnSpc>
                <a:spcPct val="100000"/>
              </a:lnSpc>
              <a:spcAft>
                <a:spcPts val="0"/>
              </a:spcAft>
              <a:defRPr sz="1477">
                <a:solidFill>
                  <a:schemeClr val="bg1"/>
                </a:solidFill>
              </a:defRPr>
            </a:lvl1pPr>
          </a:lstStyle>
          <a:p>
            <a:endParaRPr lang="en-GB" dirty="0"/>
          </a:p>
        </p:txBody>
      </p:sp>
      <p:sp>
        <p:nvSpPr>
          <p:cNvPr id="15" name="Text Placeholder 7">
            <a:extLst>
              <a:ext uri="{FF2B5EF4-FFF2-40B4-BE49-F238E27FC236}">
                <a16:creationId xmlns:a16="http://schemas.microsoft.com/office/drawing/2014/main" id="{30466996-CC2F-4A12-8205-BCB0B21F25C5}"/>
              </a:ext>
            </a:extLst>
          </p:cNvPr>
          <p:cNvSpPr>
            <a:spLocks noGrp="1"/>
          </p:cNvSpPr>
          <p:nvPr>
            <p:ph type="body" sz="quarter" idx="28" hasCustomPrompt="1"/>
          </p:nvPr>
        </p:nvSpPr>
        <p:spPr>
          <a:xfrm>
            <a:off x="6260050" y="3659425"/>
            <a:ext cx="2339446"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
        <p:nvSpPr>
          <p:cNvPr id="18" name="Content Placeholder 2">
            <a:extLst>
              <a:ext uri="{FF2B5EF4-FFF2-40B4-BE49-F238E27FC236}">
                <a16:creationId xmlns:a16="http://schemas.microsoft.com/office/drawing/2014/main" id="{3C57B8B9-76D5-4A6C-A107-1FC9F087DADE}"/>
              </a:ext>
            </a:extLst>
          </p:cNvPr>
          <p:cNvSpPr>
            <a:spLocks noGrp="1"/>
          </p:cNvSpPr>
          <p:nvPr>
            <p:ph idx="1" hasCustomPrompt="1"/>
          </p:nvPr>
        </p:nvSpPr>
        <p:spPr>
          <a:xfrm>
            <a:off x="3380598" y="586862"/>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endParaRPr lang="en-GB" dirty="0"/>
          </a:p>
        </p:txBody>
      </p:sp>
      <p:sp>
        <p:nvSpPr>
          <p:cNvPr id="20" name="Content Placeholder 2">
            <a:extLst>
              <a:ext uri="{FF2B5EF4-FFF2-40B4-BE49-F238E27FC236}">
                <a16:creationId xmlns:a16="http://schemas.microsoft.com/office/drawing/2014/main" id="{A8C51FB3-9E83-43CC-9590-4C507000147C}"/>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endParaRPr lang="en-GB" dirty="0"/>
          </a:p>
        </p:txBody>
      </p:sp>
    </p:spTree>
    <p:extLst>
      <p:ext uri="{BB962C8B-B14F-4D97-AF65-F5344CB8AC3E}">
        <p14:creationId xmlns:p14="http://schemas.microsoft.com/office/powerpoint/2010/main" val="197937073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ree Tiles A">
    <p:spTree>
      <p:nvGrpSpPr>
        <p:cNvPr id="1" name=""/>
        <p:cNvGrpSpPr/>
        <p:nvPr/>
      </p:nvGrpSpPr>
      <p:grpSpPr>
        <a:xfrm>
          <a:off x="0" y="0"/>
          <a:ext cx="0" cy="0"/>
          <a:chOff x="0" y="0"/>
          <a:chExt cx="0" cy="0"/>
        </a:xfrm>
      </p:grpSpPr>
      <p:sp>
        <p:nvSpPr>
          <p:cNvPr id="13" name="Rectangle 12"/>
          <p:cNvSpPr>
            <a:spLocks/>
          </p:cNvSpPr>
          <p:nvPr userDrawn="1"/>
        </p:nvSpPr>
        <p:spPr>
          <a:xfrm>
            <a:off x="284287" y="3374862"/>
            <a:ext cx="8574411" cy="307832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dirty="0"/>
          </a:p>
        </p:txBody>
      </p:sp>
      <p:sp>
        <p:nvSpPr>
          <p:cNvPr id="10" name="Picture Placeholder 3"/>
          <p:cNvSpPr>
            <a:spLocks noGrp="1"/>
          </p:cNvSpPr>
          <p:nvPr>
            <p:ph type="pic" sz="quarter" idx="22"/>
          </p:nvPr>
        </p:nvSpPr>
        <p:spPr>
          <a:xfrm>
            <a:off x="3145668" y="296862"/>
            <a:ext cx="5715618" cy="3078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dirty="0"/>
          </a:p>
        </p:txBody>
      </p:sp>
      <p:sp>
        <p:nvSpPr>
          <p:cNvPr id="6" name="Text Placeholder 7">
            <a:extLst>
              <a:ext uri="{FF2B5EF4-FFF2-40B4-BE49-F238E27FC236}">
                <a16:creationId xmlns:a16="http://schemas.microsoft.com/office/drawing/2014/main" id="{EFB81473-A922-4732-8B81-6E91D3D2D495}"/>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
        <p:nvSpPr>
          <p:cNvPr id="12" name="Content Placeholder 2">
            <a:extLst>
              <a:ext uri="{FF2B5EF4-FFF2-40B4-BE49-F238E27FC236}">
                <a16:creationId xmlns:a16="http://schemas.microsoft.com/office/drawing/2014/main" id="{875FA68E-E720-42BA-98E1-0BAF4E2020EC}"/>
              </a:ext>
            </a:extLst>
          </p:cNvPr>
          <p:cNvSpPr>
            <a:spLocks noGrp="1"/>
          </p:cNvSpPr>
          <p:nvPr>
            <p:ph idx="24" hasCustomPrompt="1"/>
          </p:nvPr>
        </p:nvSpPr>
        <p:spPr>
          <a:xfrm>
            <a:off x="553182" y="3659478"/>
            <a:ext cx="8038523"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endParaRPr lang="en-GB" dirty="0"/>
          </a:p>
        </p:txBody>
      </p:sp>
    </p:spTree>
    <p:extLst>
      <p:ext uri="{BB962C8B-B14F-4D97-AF65-F5344CB8AC3E}">
        <p14:creationId xmlns:p14="http://schemas.microsoft.com/office/powerpoint/2010/main" val="2683408153"/>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ree Tiles B">
    <p:spTree>
      <p:nvGrpSpPr>
        <p:cNvPr id="1" name=""/>
        <p:cNvGrpSpPr/>
        <p:nvPr/>
      </p:nvGrpSpPr>
      <p:grpSpPr>
        <a:xfrm>
          <a:off x="0" y="0"/>
          <a:ext cx="0" cy="0"/>
          <a:chOff x="0" y="0"/>
          <a:chExt cx="0" cy="0"/>
        </a:xfrm>
      </p:grpSpPr>
      <p:sp>
        <p:nvSpPr>
          <p:cNvPr id="13" name="Rectangle 12"/>
          <p:cNvSpPr>
            <a:spLocks/>
          </p:cNvSpPr>
          <p:nvPr userDrawn="1"/>
        </p:nvSpPr>
        <p:spPr>
          <a:xfrm>
            <a:off x="6003388" y="3374862"/>
            <a:ext cx="2857947" cy="30783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dirty="0"/>
          </a:p>
        </p:txBody>
      </p:sp>
      <p:sp>
        <p:nvSpPr>
          <p:cNvPr id="11" name="Picture Placeholder 3"/>
          <p:cNvSpPr>
            <a:spLocks noGrp="1"/>
          </p:cNvSpPr>
          <p:nvPr>
            <p:ph type="pic" sz="quarter" idx="22"/>
          </p:nvPr>
        </p:nvSpPr>
        <p:spPr>
          <a:xfrm>
            <a:off x="284285" y="296862"/>
            <a:ext cx="5715620" cy="6156326"/>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dirty="0"/>
          </a:p>
        </p:txBody>
      </p:sp>
      <p:sp>
        <p:nvSpPr>
          <p:cNvPr id="9" name="Text Placeholder 7">
            <a:extLst>
              <a:ext uri="{FF2B5EF4-FFF2-40B4-BE49-F238E27FC236}">
                <a16:creationId xmlns:a16="http://schemas.microsoft.com/office/drawing/2014/main" id="{B816A4BE-D775-4B00-97A8-AC1A0BB06E56}"/>
              </a:ext>
            </a:extLst>
          </p:cNvPr>
          <p:cNvSpPr>
            <a:spLocks noGrp="1"/>
          </p:cNvSpPr>
          <p:nvPr>
            <p:ph type="body" sz="quarter" idx="28" hasCustomPrompt="1"/>
          </p:nvPr>
        </p:nvSpPr>
        <p:spPr>
          <a:xfrm>
            <a:off x="6246465" y="586862"/>
            <a:ext cx="2339446"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
        <p:nvSpPr>
          <p:cNvPr id="8" name="Content Placeholder 2">
            <a:extLst>
              <a:ext uri="{FF2B5EF4-FFF2-40B4-BE49-F238E27FC236}">
                <a16:creationId xmlns:a16="http://schemas.microsoft.com/office/drawing/2014/main" id="{620B69DC-91E8-48CC-88AD-89C363440D89}"/>
              </a:ext>
            </a:extLst>
          </p:cNvPr>
          <p:cNvSpPr>
            <a:spLocks noGrp="1"/>
          </p:cNvSpPr>
          <p:nvPr>
            <p:ph idx="1" hasCustomPrompt="1"/>
          </p:nvPr>
        </p:nvSpPr>
        <p:spPr>
          <a:xfrm>
            <a:off x="6240421" y="3659478"/>
            <a:ext cx="2383886"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endParaRPr lang="en-GB" dirty="0"/>
          </a:p>
        </p:txBody>
      </p:sp>
    </p:spTree>
    <p:extLst>
      <p:ext uri="{BB962C8B-B14F-4D97-AF65-F5344CB8AC3E}">
        <p14:creationId xmlns:p14="http://schemas.microsoft.com/office/powerpoint/2010/main" val="2066462900"/>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ree Tiles C">
    <p:spTree>
      <p:nvGrpSpPr>
        <p:cNvPr id="1" name=""/>
        <p:cNvGrpSpPr/>
        <p:nvPr/>
      </p:nvGrpSpPr>
      <p:grpSpPr>
        <a:xfrm>
          <a:off x="0" y="0"/>
          <a:ext cx="0" cy="0"/>
          <a:chOff x="0" y="0"/>
          <a:chExt cx="0" cy="0"/>
        </a:xfrm>
      </p:grpSpPr>
      <p:sp>
        <p:nvSpPr>
          <p:cNvPr id="13" name="Rectangle 12"/>
          <p:cNvSpPr>
            <a:spLocks/>
          </p:cNvSpPr>
          <p:nvPr userDrawn="1"/>
        </p:nvSpPr>
        <p:spPr>
          <a:xfrm>
            <a:off x="284286" y="3375188"/>
            <a:ext cx="2857947" cy="307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dirty="0"/>
          </a:p>
        </p:txBody>
      </p:sp>
      <p:sp>
        <p:nvSpPr>
          <p:cNvPr id="11" name="Picture Placeholder 3"/>
          <p:cNvSpPr>
            <a:spLocks noGrp="1"/>
          </p:cNvSpPr>
          <p:nvPr>
            <p:ph type="pic" sz="quarter" idx="22"/>
          </p:nvPr>
        </p:nvSpPr>
        <p:spPr>
          <a:xfrm>
            <a:off x="3143076" y="296862"/>
            <a:ext cx="5715620" cy="6156326"/>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dirty="0"/>
          </a:p>
        </p:txBody>
      </p:sp>
      <p:sp>
        <p:nvSpPr>
          <p:cNvPr id="6" name="Text Placeholder 7">
            <a:extLst>
              <a:ext uri="{FF2B5EF4-FFF2-40B4-BE49-F238E27FC236}">
                <a16:creationId xmlns:a16="http://schemas.microsoft.com/office/drawing/2014/main" id="{B1D9AFA0-0C5D-4905-91FA-A4BF77D34CA0}"/>
              </a:ext>
            </a:extLst>
          </p:cNvPr>
          <p:cNvSpPr>
            <a:spLocks noGrp="1"/>
          </p:cNvSpPr>
          <p:nvPr>
            <p:ph type="body" sz="quarter" idx="13" hasCustomPrompt="1"/>
          </p:nvPr>
        </p:nvSpPr>
        <p:spPr>
          <a:xfrm>
            <a:off x="553182" y="586862"/>
            <a:ext cx="2329750" cy="25272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
        <p:nvSpPr>
          <p:cNvPr id="9" name="Content Placeholder 2">
            <a:extLst>
              <a:ext uri="{FF2B5EF4-FFF2-40B4-BE49-F238E27FC236}">
                <a16:creationId xmlns:a16="http://schemas.microsoft.com/office/drawing/2014/main" id="{4DB5B5EC-FFAD-46AB-90FF-1D0DA87AF1EF}"/>
              </a:ext>
            </a:extLst>
          </p:cNvPr>
          <p:cNvSpPr>
            <a:spLocks noGrp="1"/>
          </p:cNvSpPr>
          <p:nvPr>
            <p:ph idx="23" hasCustomPrompt="1"/>
          </p:nvPr>
        </p:nvSpPr>
        <p:spPr>
          <a:xfrm>
            <a:off x="553182" y="3659478"/>
            <a:ext cx="2329750" cy="2527200"/>
          </a:xfrm>
        </p:spPr>
        <p:txBody>
          <a:bodyPr numCol="1" spcCol="180000">
            <a:noAutofit/>
          </a:bodyPr>
          <a:lstStyle>
            <a:lvl1pPr>
              <a:defRPr>
                <a:solidFill>
                  <a:schemeClr val="bg1"/>
                </a:solidFill>
              </a:defRPr>
            </a:lvl1pPr>
            <a:lvl2pPr>
              <a:defRPr>
                <a:solidFill>
                  <a:schemeClr val="bg1"/>
                </a:solidFill>
              </a:defRPr>
            </a:lvl2pPr>
            <a:lvl3pP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vl6pPr>
              <a:buClr>
                <a:schemeClr val="bg1"/>
              </a:buClr>
              <a:defRPr baseline="0">
                <a:solidFill>
                  <a:schemeClr val="bg1"/>
                </a:solidFill>
              </a:defRPr>
            </a:lvl6pPr>
            <a:lvl7pPr>
              <a:buClr>
                <a:schemeClr val="bg1"/>
              </a:buClr>
              <a:defRPr>
                <a:solidFill>
                  <a:schemeClr val="bg1"/>
                </a:solidFill>
              </a:defRPr>
            </a:lvl7pPr>
            <a:lvl8pPr>
              <a:buClr>
                <a:schemeClr val="bg1"/>
              </a:buClr>
              <a:defRPr>
                <a:solidFill>
                  <a:schemeClr val="bg1"/>
                </a:solidFill>
              </a:defRPr>
            </a:lvl8pPr>
            <a:lvl9pPr>
              <a:buClr>
                <a:schemeClr val="bg1"/>
              </a:buClr>
              <a:defRPr>
                <a:solidFill>
                  <a:schemeClr val="bg1"/>
                </a:solidFill>
              </a:defRPr>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endParaRPr lang="en-GB" dirty="0"/>
          </a:p>
        </p:txBody>
      </p:sp>
    </p:spTree>
    <p:extLst>
      <p:ext uri="{BB962C8B-B14F-4D97-AF65-F5344CB8AC3E}">
        <p14:creationId xmlns:p14="http://schemas.microsoft.com/office/powerpoint/2010/main" val="272006754"/>
      </p:ext>
    </p:extLst>
  </p:cSld>
  <p:clrMapOvr>
    <a:masterClrMapping/>
  </p:clrMapOvr>
  <p:transition>
    <p:fade/>
  </p:transition>
  <p:extLst mod="1">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ef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284286" y="296863"/>
            <a:ext cx="4286769"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dirty="0"/>
          </a:p>
        </p:txBody>
      </p:sp>
      <p:sp>
        <p:nvSpPr>
          <p:cNvPr id="8" name="Text Placeholder 2"/>
          <p:cNvSpPr>
            <a:spLocks noGrp="1"/>
          </p:cNvSpPr>
          <p:nvPr>
            <p:ph type="body" sz="quarter" idx="20" hasCustomPrompt="1"/>
          </p:nvPr>
        </p:nvSpPr>
        <p:spPr>
          <a:xfrm>
            <a:off x="5081955" y="1408154"/>
            <a:ext cx="3502792" cy="3281441"/>
          </a:xfrm>
        </p:spPr>
        <p:txBody>
          <a:bodyPr tIns="0" rIns="0" bIns="0" anchor="ctr"/>
          <a:lstStyle>
            <a:lvl1pPr algn="r">
              <a:defRPr b="0" cap="none" baseline="0"/>
            </a:lvl1pPr>
            <a:lvl2pPr algn="r">
              <a:defRPr/>
            </a:lvl2pPr>
            <a:lvl3pPr algn="r">
              <a:defRPr sz="1292"/>
            </a:lvl3pPr>
            <a:lvl4pPr marL="0" indent="0" algn="r">
              <a:buNone/>
              <a:defRPr sz="1292"/>
            </a:lvl4pPr>
            <a:lvl5pPr marL="0" indent="0" algn="r">
              <a:buNone/>
              <a:tabLst/>
              <a:defRPr sz="1292"/>
            </a:lvl5pPr>
            <a:lvl6pPr marL="0" indent="0" algn="r">
              <a:buNone/>
              <a:defRPr sz="1292"/>
            </a:lvl6pPr>
            <a:lvl7pPr marL="0" indent="0" algn="r">
              <a:buNone/>
              <a:defRPr sz="1292"/>
            </a:lvl7pPr>
            <a:lvl8pPr marL="0" indent="0" algn="r">
              <a:buNone/>
              <a:tabLst/>
              <a:defRPr sz="1292"/>
            </a:lvl8pPr>
            <a:lvl9pPr marL="0" indent="0" algn="r">
              <a:buNone/>
              <a:defRPr sz="1292"/>
            </a:lvl9pPr>
          </a:lstStyle>
          <a:p>
            <a:pPr lvl="0"/>
            <a:r>
              <a:rPr lang="en-US" dirty="0"/>
              <a:t>Click to edit Master text styles</a:t>
            </a:r>
          </a:p>
        </p:txBody>
      </p:sp>
      <p:sp>
        <p:nvSpPr>
          <p:cNvPr id="7" name="Text Placeholder 55">
            <a:extLst>
              <a:ext uri="{FF2B5EF4-FFF2-40B4-BE49-F238E27FC236}">
                <a16:creationId xmlns:a16="http://schemas.microsoft.com/office/drawing/2014/main" id="{484F0682-3036-48D1-A7CB-637440A1308A}"/>
              </a:ext>
            </a:extLst>
          </p:cNvPr>
          <p:cNvSpPr>
            <a:spLocks noGrp="1"/>
          </p:cNvSpPr>
          <p:nvPr>
            <p:ph type="body" sz="quarter" idx="21" hasCustomPrompt="1"/>
          </p:nvPr>
        </p:nvSpPr>
        <p:spPr>
          <a:xfrm>
            <a:off x="5081955" y="4689593"/>
            <a:ext cx="3502792" cy="633978"/>
          </a:xfrm>
        </p:spPr>
        <p:txBody>
          <a:bodyPr lIns="90000" rIns="0" anchor="ctr">
            <a:normAutofit/>
          </a:bodyPr>
          <a:lstStyle>
            <a:lvl1pPr algn="r">
              <a:lnSpc>
                <a:spcPct val="100000"/>
              </a:lnSpc>
              <a:spcAft>
                <a:spcPts val="0"/>
              </a:spcAft>
              <a:defRPr sz="1292" b="1" cap="all"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US" dirty="0"/>
              <a:t>CLICK TO EDIT TEXT</a:t>
            </a:r>
          </a:p>
        </p:txBody>
      </p:sp>
    </p:spTree>
    <p:extLst>
      <p:ext uri="{BB962C8B-B14F-4D97-AF65-F5344CB8AC3E}">
        <p14:creationId xmlns:p14="http://schemas.microsoft.com/office/powerpoint/2010/main" val="3665495947"/>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384175" y="1708152"/>
            <a:ext cx="4110038" cy="406717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6614" y="1708152"/>
            <a:ext cx="4111625" cy="406717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6"/>
          <p:cNvSpPr>
            <a:spLocks noGrp="1" noChangeArrowheads="1"/>
          </p:cNvSpPr>
          <p:nvPr>
            <p:ph type="sldNum" sz="quarter" idx="10"/>
          </p:nvPr>
        </p:nvSpPr>
        <p:spPr>
          <a:ln/>
        </p:spPr>
        <p:txBody>
          <a:bodyPr/>
          <a:lstStyle>
            <a:lvl1pPr>
              <a:defRPr/>
            </a:lvl1pPr>
          </a:lstStyle>
          <a:p>
            <a:pPr>
              <a:defRPr/>
            </a:pPr>
            <a:fld id="{9D7DA2F1-372C-4022-A335-B4E5D3D47736}"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2203651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Right Image &amp; Quote">
    <p:spTree>
      <p:nvGrpSpPr>
        <p:cNvPr id="1" name=""/>
        <p:cNvGrpSpPr/>
        <p:nvPr/>
      </p:nvGrpSpPr>
      <p:grpSpPr>
        <a:xfrm>
          <a:off x="0" y="0"/>
          <a:ext cx="0" cy="0"/>
          <a:chOff x="0" y="0"/>
          <a:chExt cx="0" cy="0"/>
        </a:xfrm>
      </p:grpSpPr>
      <p:sp>
        <p:nvSpPr>
          <p:cNvPr id="9" name="Picture Placeholder 3"/>
          <p:cNvSpPr>
            <a:spLocks noGrp="1"/>
          </p:cNvSpPr>
          <p:nvPr>
            <p:ph type="pic" sz="quarter" idx="15"/>
          </p:nvPr>
        </p:nvSpPr>
        <p:spPr>
          <a:xfrm>
            <a:off x="4571481" y="296863"/>
            <a:ext cx="4286769" cy="6156000"/>
          </a:xfrm>
          <a:solidFill>
            <a:schemeClr val="accent5">
              <a:lumMod val="75000"/>
            </a:schemeClr>
          </a:solidFill>
        </p:spPr>
        <p:txBody>
          <a:bodyPr lIns="36000" tIns="36000" rIns="36000" bIns="36000" anchor="ctr"/>
          <a:lstStyle>
            <a:lvl1pPr algn="ctr">
              <a:lnSpc>
                <a:spcPct val="100000"/>
              </a:lnSpc>
              <a:spcAft>
                <a:spcPts val="0"/>
              </a:spcAft>
              <a:defRPr>
                <a:solidFill>
                  <a:schemeClr val="bg1"/>
                </a:solidFill>
              </a:defRPr>
            </a:lvl1pPr>
          </a:lstStyle>
          <a:p>
            <a:endParaRPr lang="en-GB" dirty="0"/>
          </a:p>
        </p:txBody>
      </p:sp>
      <p:sp>
        <p:nvSpPr>
          <p:cNvPr id="12" name="Text Placeholder 2">
            <a:extLst>
              <a:ext uri="{FF2B5EF4-FFF2-40B4-BE49-F238E27FC236}">
                <a16:creationId xmlns:a16="http://schemas.microsoft.com/office/drawing/2014/main" id="{649BEEF9-D970-419D-AA2E-DD608512B9F3}"/>
              </a:ext>
            </a:extLst>
          </p:cNvPr>
          <p:cNvSpPr>
            <a:spLocks noGrp="1"/>
          </p:cNvSpPr>
          <p:nvPr>
            <p:ph type="body" sz="quarter" idx="20" hasCustomPrompt="1"/>
          </p:nvPr>
        </p:nvSpPr>
        <p:spPr>
          <a:xfrm>
            <a:off x="552158" y="1408154"/>
            <a:ext cx="3502792" cy="3281441"/>
          </a:xfrm>
        </p:spPr>
        <p:txBody>
          <a:bodyPr tIns="0" rIns="0" bIns="0" anchor="ctr"/>
          <a:lstStyle>
            <a:lvl1pPr algn="l">
              <a:defRPr b="0" cap="none" baseline="0"/>
            </a:lvl1pPr>
            <a:lvl2pPr algn="l">
              <a:defRPr/>
            </a:lvl2pPr>
            <a:lvl3pPr algn="l">
              <a:defRPr sz="1292"/>
            </a:lvl3pPr>
            <a:lvl4pPr marL="0" indent="0" algn="l">
              <a:buNone/>
              <a:defRPr sz="1292"/>
            </a:lvl4pPr>
            <a:lvl5pPr marL="0" indent="0" algn="l">
              <a:buNone/>
              <a:tabLst/>
              <a:defRPr sz="1292"/>
            </a:lvl5pPr>
            <a:lvl6pPr marL="0" indent="0" algn="l">
              <a:buNone/>
              <a:defRPr sz="1292"/>
            </a:lvl6pPr>
            <a:lvl7pPr marL="0" indent="0" algn="l">
              <a:buNone/>
              <a:defRPr sz="1292"/>
            </a:lvl7pPr>
            <a:lvl8pPr marL="0" indent="0" algn="l">
              <a:buNone/>
              <a:tabLst/>
              <a:defRPr sz="1292"/>
            </a:lvl8pPr>
            <a:lvl9pPr marL="0" indent="0" algn="l">
              <a:buNone/>
              <a:defRPr sz="1292"/>
            </a:lvl9pPr>
          </a:lstStyle>
          <a:p>
            <a:pPr lvl="0"/>
            <a:r>
              <a:rPr lang="en-US" dirty="0"/>
              <a:t>Click to edit Master text styles</a:t>
            </a:r>
          </a:p>
        </p:txBody>
      </p:sp>
      <p:sp>
        <p:nvSpPr>
          <p:cNvPr id="6" name="Text Placeholder 55">
            <a:extLst>
              <a:ext uri="{FF2B5EF4-FFF2-40B4-BE49-F238E27FC236}">
                <a16:creationId xmlns:a16="http://schemas.microsoft.com/office/drawing/2014/main" id="{97FCAA84-D1A3-46AE-B10B-F200FB179494}"/>
              </a:ext>
            </a:extLst>
          </p:cNvPr>
          <p:cNvSpPr>
            <a:spLocks noGrp="1"/>
          </p:cNvSpPr>
          <p:nvPr>
            <p:ph type="body" sz="quarter" idx="21" hasCustomPrompt="1"/>
          </p:nvPr>
        </p:nvSpPr>
        <p:spPr>
          <a:xfrm>
            <a:off x="552158" y="4689593"/>
            <a:ext cx="3502792" cy="633978"/>
          </a:xfrm>
        </p:spPr>
        <p:txBody>
          <a:bodyPr lIns="90000" rIns="0" anchor="ctr">
            <a:normAutofit/>
          </a:bodyPr>
          <a:lstStyle>
            <a:lvl1pPr algn="l">
              <a:lnSpc>
                <a:spcPct val="100000"/>
              </a:lnSpc>
              <a:spcAft>
                <a:spcPts val="0"/>
              </a:spcAft>
              <a:defRPr sz="1292" b="1" cap="all" baseline="0">
                <a:solidFill>
                  <a:schemeClr val="bg2"/>
                </a:solidFill>
              </a:defRPr>
            </a:lvl1pPr>
            <a:lvl2pPr algn="l">
              <a:lnSpc>
                <a:spcPct val="100000"/>
              </a:lnSpc>
              <a:spcAft>
                <a:spcPts val="0"/>
              </a:spcAft>
              <a:defRPr sz="1292">
                <a:solidFill>
                  <a:schemeClr val="tx1"/>
                </a:solidFill>
              </a:defRPr>
            </a:lvl2pPr>
            <a:lvl3pPr algn="l">
              <a:lnSpc>
                <a:spcPct val="100000"/>
              </a:lnSpc>
              <a:spcAft>
                <a:spcPts val="0"/>
              </a:spcAft>
              <a:defRPr>
                <a:solidFill>
                  <a:schemeClr val="tx1"/>
                </a:solidFill>
              </a:defRPr>
            </a:lvl3pPr>
            <a:lvl4pPr marL="0" indent="0" algn="l">
              <a:spcBef>
                <a:spcPts val="0"/>
              </a:spcBef>
              <a:spcAft>
                <a:spcPts val="0"/>
              </a:spcAft>
              <a:buNone/>
              <a:defRPr>
                <a:solidFill>
                  <a:schemeClr val="tx1"/>
                </a:solidFill>
              </a:defRPr>
            </a:lvl4pPr>
            <a:lvl5pPr marL="0" indent="0" algn="l">
              <a:spcBef>
                <a:spcPts val="0"/>
              </a:spcBef>
              <a:spcAft>
                <a:spcPts val="0"/>
              </a:spcAft>
              <a:buNone/>
              <a:defRPr sz="1292">
                <a:solidFill>
                  <a:schemeClr val="tx1"/>
                </a:solidFill>
              </a:defRPr>
            </a:lvl5pPr>
            <a:lvl6pPr marL="0" indent="0">
              <a:lnSpc>
                <a:spcPct val="100000"/>
              </a:lnSpc>
              <a:spcBef>
                <a:spcPts val="0"/>
              </a:spcBef>
              <a:buNone/>
              <a:defRPr sz="1292"/>
            </a:lvl6pPr>
            <a:lvl7pPr marL="0" indent="0">
              <a:lnSpc>
                <a:spcPct val="100000"/>
              </a:lnSpc>
              <a:spcBef>
                <a:spcPts val="0"/>
              </a:spcBef>
              <a:buNone/>
              <a:defRPr sz="1292"/>
            </a:lvl7pPr>
            <a:lvl8pPr marL="0" indent="0">
              <a:lnSpc>
                <a:spcPct val="100000"/>
              </a:lnSpc>
              <a:spcBef>
                <a:spcPts val="0"/>
              </a:spcBef>
              <a:buNone/>
              <a:defRPr sz="1292"/>
            </a:lvl8pPr>
            <a:lvl9pPr marL="0" indent="0">
              <a:lnSpc>
                <a:spcPct val="100000"/>
              </a:lnSpc>
              <a:spcBef>
                <a:spcPts val="0"/>
              </a:spcBef>
              <a:buNone/>
              <a:defRPr sz="1292"/>
            </a:lvl9pPr>
          </a:lstStyle>
          <a:p>
            <a:pPr lvl="0"/>
            <a:r>
              <a:rPr lang="en-US" dirty="0"/>
              <a:t>CLICK TO EDIT TEXT</a:t>
            </a:r>
          </a:p>
        </p:txBody>
      </p:sp>
    </p:spTree>
    <p:extLst>
      <p:ext uri="{BB962C8B-B14F-4D97-AF65-F5344CB8AC3E}">
        <p14:creationId xmlns:p14="http://schemas.microsoft.com/office/powerpoint/2010/main" val="4060904895"/>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ext Placeholder 7">
            <a:extLst>
              <a:ext uri="{FF2B5EF4-FFF2-40B4-BE49-F238E27FC236}">
                <a16:creationId xmlns:a16="http://schemas.microsoft.com/office/drawing/2014/main" id="{5B450641-E427-4EA4-A429-795DDFE195FC}"/>
              </a:ext>
            </a:extLst>
          </p:cNvPr>
          <p:cNvSpPr>
            <a:spLocks noGrp="1"/>
          </p:cNvSpPr>
          <p:nvPr>
            <p:ph type="body" sz="quarter" idx="13" hasCustomPrompt="1"/>
          </p:nvPr>
        </p:nvSpPr>
        <p:spPr>
          <a:xfrm>
            <a:off x="553182" y="586862"/>
            <a:ext cx="8038523" cy="1148400"/>
          </a:xfrm>
        </p:spPr>
        <p:txBody>
          <a:bodyPr tIns="0" rIns="0" bIns="0" anchor="t">
            <a:noAutofit/>
          </a:bodyPr>
          <a:lstStyle>
            <a:lvl1pPr>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lvl="0"/>
            <a:r>
              <a:rPr lang="en-US" dirty="0"/>
              <a:t>CLICK TO EDIT Title </a:t>
            </a:r>
          </a:p>
          <a:p>
            <a:pPr lvl="1"/>
            <a:r>
              <a:rPr lang="en-US" dirty="0"/>
              <a:t>Second level</a:t>
            </a:r>
          </a:p>
        </p:txBody>
      </p:sp>
    </p:spTree>
    <p:extLst>
      <p:ext uri="{BB962C8B-B14F-4D97-AF65-F5344CB8AC3E}">
        <p14:creationId xmlns:p14="http://schemas.microsoft.com/office/powerpoint/2010/main" val="6557662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26385900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ack Page">
    <p:spTree>
      <p:nvGrpSpPr>
        <p:cNvPr id="1" name=""/>
        <p:cNvGrpSpPr/>
        <p:nvPr/>
      </p:nvGrpSpPr>
      <p:grpSpPr>
        <a:xfrm>
          <a:off x="0" y="0"/>
          <a:ext cx="0" cy="0"/>
          <a:chOff x="0" y="0"/>
          <a:chExt cx="0" cy="0"/>
        </a:xfrm>
      </p:grpSpPr>
      <p:sp>
        <p:nvSpPr>
          <p:cNvPr id="6" name="shpShading"/>
          <p:cNvSpPr/>
          <p:nvPr userDrawn="1"/>
        </p:nvSpPr>
        <p:spPr>
          <a:xfrm>
            <a:off x="6233747" y="296862"/>
            <a:ext cx="2625970" cy="6156326"/>
          </a:xfrm>
          <a:prstGeom prst="rect">
            <a:avLst/>
          </a:prstGeom>
          <a:solidFill>
            <a:srgbClr val="F5F8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dirty="0"/>
          </a:p>
        </p:txBody>
      </p:sp>
      <p:sp>
        <p:nvSpPr>
          <p:cNvPr id="46" name="txtDetails">
            <a:extLst>
              <a:ext uri="{FF2B5EF4-FFF2-40B4-BE49-F238E27FC236}">
                <a16:creationId xmlns:a16="http://schemas.microsoft.com/office/drawing/2014/main" id="{1B3CE762-3D80-44DE-BB4E-A90D339A39CB}"/>
              </a:ext>
            </a:extLst>
          </p:cNvPr>
          <p:cNvSpPr txBox="1">
            <a:spLocks noChangeArrowheads="1"/>
          </p:cNvSpPr>
          <p:nvPr userDrawn="1"/>
        </p:nvSpPr>
        <p:spPr bwMode="auto">
          <a:xfrm>
            <a:off x="6505092" y="2031022"/>
            <a:ext cx="2087924" cy="42220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nchor="b"/>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spcBef>
                <a:spcPts val="0"/>
              </a:spcBef>
            </a:pPr>
            <a:r>
              <a:rPr lang="en-GB" sz="923" b="1" i="0" u="none" strike="noStrike" kern="1200" baseline="30000" dirty="0">
                <a:solidFill>
                  <a:schemeClr val="tx1"/>
                </a:solidFill>
                <a:latin typeface="Arial" charset="0"/>
                <a:ea typeface="+mn-ea"/>
                <a:cs typeface="+mn-cs"/>
              </a:rPr>
              <a:t>Corporate Headquarters</a:t>
            </a:r>
          </a:p>
          <a:p>
            <a:pPr algn="l" rtl="0">
              <a:spcBef>
                <a:spcPts val="0"/>
              </a:spcBef>
            </a:pPr>
            <a:r>
              <a:rPr lang="en-GB" sz="923" b="0" i="0" u="none" strike="noStrike" kern="1200" baseline="30000" dirty="0">
                <a:solidFill>
                  <a:schemeClr val="tx1"/>
                </a:solidFill>
                <a:latin typeface="Arial" charset="0"/>
                <a:ea typeface="+mn-ea"/>
                <a:cs typeface="+mn-cs"/>
              </a:rPr>
              <a:t>10 Bressenden Place</a:t>
            </a:r>
            <a:br>
              <a:rPr lang="en-GB" sz="923" b="0" i="0" u="none" strike="noStrike" kern="1200" baseline="30000" dirty="0">
                <a:solidFill>
                  <a:schemeClr val="tx1"/>
                </a:solidFill>
                <a:latin typeface="Arial" charset="0"/>
                <a:ea typeface="+mn-ea"/>
                <a:cs typeface="+mn-cs"/>
              </a:rPr>
            </a:br>
            <a:r>
              <a:rPr lang="en-GB" sz="923" b="0" i="0" u="none" strike="noStrike" kern="1200" baseline="30000" dirty="0">
                <a:solidFill>
                  <a:schemeClr val="tx1"/>
                </a:solidFill>
                <a:latin typeface="Arial" charset="0"/>
                <a:ea typeface="+mn-ea"/>
                <a:cs typeface="+mn-cs"/>
              </a:rPr>
              <a:t>London</a:t>
            </a:r>
            <a:br>
              <a:rPr lang="en-GB" sz="923" b="0" i="0" u="none" strike="noStrike" kern="1200" baseline="30000" dirty="0">
                <a:solidFill>
                  <a:schemeClr val="tx1"/>
                </a:solidFill>
                <a:latin typeface="Arial" charset="0"/>
                <a:ea typeface="+mn-ea"/>
                <a:cs typeface="+mn-cs"/>
              </a:rPr>
            </a:br>
            <a:r>
              <a:rPr lang="en-GB" sz="923" b="0" i="0" u="none" strike="noStrike" kern="1200" baseline="30000" dirty="0">
                <a:solidFill>
                  <a:schemeClr val="tx1"/>
                </a:solidFill>
                <a:latin typeface="Arial" charset="0"/>
                <a:ea typeface="+mn-ea"/>
                <a:cs typeface="+mn-cs"/>
              </a:rPr>
              <a:t>SW1E 5DN</a:t>
            </a:r>
            <a:br>
              <a:rPr lang="en-GB" sz="923" b="0" i="0" u="none" strike="noStrike" kern="1200" baseline="30000" dirty="0">
                <a:solidFill>
                  <a:schemeClr val="tx1"/>
                </a:solidFill>
                <a:latin typeface="Arial" charset="0"/>
                <a:ea typeface="+mn-ea"/>
                <a:cs typeface="+mn-cs"/>
              </a:rPr>
            </a:br>
            <a:r>
              <a:rPr lang="en-GB" sz="923" b="0" i="0" u="none" strike="noStrike" kern="1200" baseline="30000" dirty="0">
                <a:solidFill>
                  <a:schemeClr val="tx1"/>
                </a:solidFill>
                <a:latin typeface="Arial" charset="0"/>
                <a:ea typeface="+mn-ea"/>
                <a:cs typeface="+mn-cs"/>
              </a:rPr>
              <a:t>+44 20 7730 9000</a:t>
            </a:r>
          </a:p>
          <a:p>
            <a:pPr algn="l" rtl="0">
              <a:spcBef>
                <a:spcPts val="0"/>
              </a:spcBef>
            </a:pPr>
            <a:endParaRPr lang="en-GB" sz="923" b="0" i="0" u="none" strike="noStrike" kern="1200" baseline="30000" dirty="0">
              <a:solidFill>
                <a:schemeClr val="tx1"/>
              </a:solidFill>
              <a:latin typeface="Arial" charset="0"/>
              <a:ea typeface="+mn-ea"/>
              <a:cs typeface="+mn-cs"/>
            </a:endParaRPr>
          </a:p>
          <a:p>
            <a:pPr algn="l" rtl="0">
              <a:spcBef>
                <a:spcPts val="0"/>
              </a:spcBef>
            </a:pPr>
            <a:r>
              <a:rPr lang="en-GB" sz="923" b="1" i="0" u="none" strike="noStrike" kern="1200" baseline="30000" dirty="0">
                <a:solidFill>
                  <a:schemeClr val="tx1"/>
                </a:solidFill>
                <a:latin typeface="Arial" charset="0"/>
                <a:ea typeface="+mn-ea"/>
                <a:cs typeface="+mn-cs"/>
              </a:rPr>
              <a:t>paconsulting.com</a:t>
            </a:r>
          </a:p>
          <a:p>
            <a:pPr algn="l" rtl="0">
              <a:spcBef>
                <a:spcPts val="0"/>
              </a:spcBef>
            </a:pPr>
            <a:endParaRPr lang="en-GB" sz="923" b="0" i="0" u="none" strike="noStrike" kern="1200" baseline="30000" dirty="0">
              <a:solidFill>
                <a:schemeClr val="tx1"/>
              </a:solidFill>
              <a:latin typeface="Arial" charset="0"/>
              <a:ea typeface="+mn-ea"/>
              <a:cs typeface="+mn-cs"/>
            </a:endParaRPr>
          </a:p>
          <a:p>
            <a:pPr algn="l" rtl="0">
              <a:spcBef>
                <a:spcPts val="0"/>
              </a:spcBef>
            </a:pPr>
            <a:r>
              <a:rPr lang="en-GB" sz="923" b="0" i="0" u="none" strike="noStrike" kern="1200" baseline="30000" dirty="0">
                <a:solidFill>
                  <a:schemeClr val="tx1"/>
                </a:solidFill>
                <a:latin typeface="Arial" charset="0"/>
                <a:ea typeface="+mn-ea"/>
                <a:cs typeface="+mn-cs"/>
              </a:rPr>
              <a:t>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a:t>
            </a:r>
          </a:p>
          <a:p>
            <a:pPr algn="l" rtl="0">
              <a:spcBef>
                <a:spcPts val="0"/>
              </a:spcBef>
            </a:pPr>
            <a:endParaRPr lang="en-GB" sz="923" b="0" i="0" u="none" strike="noStrike" kern="1200" baseline="30000" dirty="0">
              <a:solidFill>
                <a:schemeClr val="tx1"/>
              </a:solidFill>
              <a:latin typeface="Arial" charset="0"/>
              <a:ea typeface="+mn-ea"/>
              <a:cs typeface="+mn-cs"/>
            </a:endParaRPr>
          </a:p>
          <a:p>
            <a:pPr algn="l" rtl="0">
              <a:spcBef>
                <a:spcPts val="0"/>
              </a:spcBef>
            </a:pPr>
            <a:r>
              <a:rPr lang="en-GB" sz="923" b="1" i="0" u="none" strike="noStrike" kern="1200" baseline="30000" dirty="0">
                <a:solidFill>
                  <a:schemeClr val="tx1"/>
                </a:solidFill>
                <a:latin typeface="Arial" charset="0"/>
                <a:ea typeface="+mn-ea"/>
                <a:cs typeface="+mn-cs"/>
              </a:rPr>
              <a:t>All rights reserved</a:t>
            </a:r>
          </a:p>
          <a:p>
            <a:pPr algn="l" rtl="0">
              <a:spcBef>
                <a:spcPts val="0"/>
              </a:spcBef>
            </a:pPr>
            <a:r>
              <a:rPr lang="en-GB" sz="923" b="1" i="0" u="none" strike="noStrike" kern="1200" baseline="30000" dirty="0">
                <a:solidFill>
                  <a:schemeClr val="tx1"/>
                </a:solidFill>
                <a:latin typeface="Arial" charset="0"/>
                <a:ea typeface="+mn-ea"/>
                <a:cs typeface="+mn-cs"/>
              </a:rPr>
              <a:t>© PA Knowledge Limited 2018</a:t>
            </a:r>
          </a:p>
          <a:p>
            <a:pPr algn="l" rtl="0">
              <a:spcBef>
                <a:spcPts val="0"/>
              </a:spcBef>
            </a:pPr>
            <a:endParaRPr lang="en-GB" sz="923" b="0" i="0" u="none" strike="noStrike" kern="1200" baseline="30000" dirty="0">
              <a:solidFill>
                <a:schemeClr val="tx1"/>
              </a:solidFill>
              <a:latin typeface="Arial" charset="0"/>
              <a:ea typeface="+mn-ea"/>
              <a:cs typeface="+mn-cs"/>
            </a:endParaRPr>
          </a:p>
          <a:p>
            <a:pPr algn="l" rtl="0">
              <a:spcBef>
                <a:spcPts val="0"/>
              </a:spcBef>
            </a:pPr>
            <a:r>
              <a:rPr lang="en-GB" sz="923" b="0" i="0" u="none" strike="noStrike" kern="1200" baseline="30000" dirty="0">
                <a:solidFill>
                  <a:schemeClr val="tx1"/>
                </a:solidFill>
                <a:latin typeface="Arial" charset="0"/>
                <a:ea typeface="+mn-ea"/>
                <a:cs typeface="+mn-cs"/>
              </a:rPr>
              <a:t>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Bressenden Place, London, SW1E 5DN. PA Consulting Group accepts no liability whatsoever should an unauthorised recipient of this report act on its contents.</a:t>
            </a:r>
          </a:p>
        </p:txBody>
      </p:sp>
      <p:pic>
        <p:nvPicPr>
          <p:cNvPr id="49" name="picLogoDark">
            <a:extLst>
              <a:ext uri="{FF2B5EF4-FFF2-40B4-BE49-F238E27FC236}">
                <a16:creationId xmlns:a16="http://schemas.microsoft.com/office/drawing/2014/main" id="{649A6BE8-C64B-4CE3-AA10-E89488B7B6A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063436" y="584640"/>
            <a:ext cx="570786" cy="564890"/>
          </a:xfrm>
          <a:prstGeom prst="rect">
            <a:avLst/>
          </a:prstGeom>
        </p:spPr>
      </p:pic>
      <p:sp>
        <p:nvSpPr>
          <p:cNvPr id="8" name="txtMTD">
            <a:extLst>
              <a:ext uri="{FF2B5EF4-FFF2-40B4-BE49-F238E27FC236}">
                <a16:creationId xmlns:a16="http://schemas.microsoft.com/office/drawing/2014/main" id="{613C0DEB-0382-4B9A-99EE-98570037AD3C}"/>
              </a:ext>
            </a:extLst>
          </p:cNvPr>
          <p:cNvSpPr/>
          <p:nvPr userDrawn="1"/>
        </p:nvSpPr>
        <p:spPr>
          <a:xfrm>
            <a:off x="448384" y="3919829"/>
            <a:ext cx="4439135" cy="2015039"/>
          </a:xfrm>
          <a:prstGeom prst="rect">
            <a:avLst/>
          </a:prstGeom>
        </p:spPr>
        <p:txBody>
          <a:bodyPr wrap="square">
            <a:spAutoFit/>
          </a:bodyPr>
          <a:lstStyle>
            <a:defPPr>
              <a:defRPr lang="en-GB"/>
            </a:defPPr>
            <a:lvl1pPr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1pPr>
            <a:lvl2pPr marL="4572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2pPr>
            <a:lvl3pPr marL="9144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3pPr>
            <a:lvl4pPr marL="13716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4pPr>
            <a:lvl5pPr marL="1828800" algn="ctr" rtl="0" eaLnBrk="0" fontAlgn="base" hangingPunct="0">
              <a:spcBef>
                <a:spcPct val="50000"/>
              </a:spcBef>
              <a:spcAft>
                <a:spcPct val="0"/>
              </a:spcAft>
              <a:buClr>
                <a:schemeClr val="tx2"/>
              </a:buClr>
              <a:buFont typeface="Symbol" pitchFamily="18" charset="2"/>
              <a:defRPr sz="1400" kern="1200">
                <a:solidFill>
                  <a:srgbClr val="737377"/>
                </a:solidFill>
                <a:latin typeface="Arial" charset="0"/>
                <a:ea typeface="+mn-ea"/>
                <a:cs typeface="+mn-cs"/>
              </a:defRPr>
            </a:lvl5pPr>
            <a:lvl6pPr marL="2286000" algn="l" defTabSz="914400" rtl="0" eaLnBrk="1" latinLnBrk="0" hangingPunct="1">
              <a:defRPr sz="1400" kern="1200">
                <a:solidFill>
                  <a:srgbClr val="737377"/>
                </a:solidFill>
                <a:latin typeface="Arial" charset="0"/>
                <a:ea typeface="+mn-ea"/>
                <a:cs typeface="+mn-cs"/>
              </a:defRPr>
            </a:lvl6pPr>
            <a:lvl7pPr marL="2743200" algn="l" defTabSz="914400" rtl="0" eaLnBrk="1" latinLnBrk="0" hangingPunct="1">
              <a:defRPr sz="1400" kern="1200">
                <a:solidFill>
                  <a:srgbClr val="737377"/>
                </a:solidFill>
                <a:latin typeface="Arial" charset="0"/>
                <a:ea typeface="+mn-ea"/>
                <a:cs typeface="+mn-cs"/>
              </a:defRPr>
            </a:lvl7pPr>
            <a:lvl8pPr marL="3200400" algn="l" defTabSz="914400" rtl="0" eaLnBrk="1" latinLnBrk="0" hangingPunct="1">
              <a:defRPr sz="1400" kern="1200">
                <a:solidFill>
                  <a:srgbClr val="737377"/>
                </a:solidFill>
                <a:latin typeface="Arial" charset="0"/>
                <a:ea typeface="+mn-ea"/>
                <a:cs typeface="+mn-cs"/>
              </a:defRPr>
            </a:lvl8pPr>
            <a:lvl9pPr marL="3657600" algn="l" defTabSz="914400" rtl="0" eaLnBrk="1" latinLnBrk="0" hangingPunct="1">
              <a:defRPr sz="1400" kern="1200">
                <a:solidFill>
                  <a:srgbClr val="737377"/>
                </a:solidFill>
                <a:latin typeface="Arial" charset="0"/>
                <a:ea typeface="+mn-ea"/>
                <a:cs typeface="+mn-cs"/>
              </a:defRPr>
            </a:lvl9pPr>
          </a:lstStyle>
          <a:p>
            <a:pPr algn="l" rtl="0"/>
            <a:endParaRPr lang="en-GB" sz="1292" b="0" i="0" u="none" strike="noStrike" kern="1200" baseline="30000" dirty="0">
              <a:solidFill>
                <a:srgbClr val="737377"/>
              </a:solidFill>
              <a:latin typeface="Arial" charset="0"/>
              <a:ea typeface="+mn-ea"/>
              <a:cs typeface="+mn-cs"/>
            </a:endParaRPr>
          </a:p>
          <a:p>
            <a:pPr algn="l" rtl="0"/>
            <a:r>
              <a:rPr lang="en-GB" sz="1292" b="1" i="0" u="none" strike="noStrike" kern="1200" baseline="30000" dirty="0">
                <a:solidFill>
                  <a:schemeClr val="tx1"/>
                </a:solidFill>
                <a:latin typeface="Arial" charset="0"/>
                <a:ea typeface="+mn-ea"/>
                <a:cs typeface="+mn-cs"/>
              </a:rPr>
              <a:t>About PA.</a:t>
            </a:r>
          </a:p>
          <a:p>
            <a:pPr algn="l" rtl="0"/>
            <a:r>
              <a:rPr lang="en-GB" sz="1292" b="0" i="0" u="none" strike="noStrike" kern="1200" baseline="30000" dirty="0">
                <a:solidFill>
                  <a:schemeClr val="tx1"/>
                </a:solidFill>
                <a:latin typeface="Arial" charset="0"/>
                <a:ea typeface="+mn-ea"/>
                <a:cs typeface="+mn-cs"/>
              </a:rPr>
              <a:t>An innovation and transformation consultancy, we believe in the power of ingenuity to build a positive human future in a technology-driven world.  </a:t>
            </a:r>
          </a:p>
          <a:p>
            <a:pPr algn="l" rtl="0"/>
            <a:r>
              <a:rPr lang="en-GB" sz="1292" b="0" i="0" u="none" strike="noStrike" kern="1200" baseline="30000" dirty="0">
                <a:solidFill>
                  <a:schemeClr val="tx1"/>
                </a:solidFill>
                <a:latin typeface="Arial" charset="0"/>
                <a:ea typeface="+mn-ea"/>
                <a:cs typeface="+mn-cs"/>
              </a:rPr>
              <a:t>As strategies, technologies and innovation collide, we turn complexity into opportunity.  </a:t>
            </a:r>
          </a:p>
          <a:p>
            <a:pPr algn="l" rtl="0"/>
            <a:r>
              <a:rPr lang="en-GB" sz="1292" b="0" i="0" u="none" strike="noStrike" kern="1200" baseline="30000" dirty="0">
                <a:solidFill>
                  <a:schemeClr val="tx1"/>
                </a:solidFill>
                <a:latin typeface="Arial" charset="0"/>
                <a:ea typeface="+mn-ea"/>
                <a:cs typeface="+mn-cs"/>
              </a:rPr>
              <a:t>Our diverse teams of experts combine innovative thinking and breakthrough technologies to progress further, faster. Our clients adapt and transform, and together we achieve enduring results. </a:t>
            </a:r>
          </a:p>
          <a:p>
            <a:pPr algn="l" rtl="0"/>
            <a:r>
              <a:rPr lang="en-GB" sz="1292" b="0" i="0" u="none" strike="noStrike" kern="1200" baseline="30000" dirty="0">
                <a:solidFill>
                  <a:schemeClr val="tx1"/>
                </a:solidFill>
                <a:latin typeface="Arial" charset="0"/>
                <a:ea typeface="+mn-ea"/>
                <a:cs typeface="+mn-cs"/>
              </a:rPr>
              <a:t>We are over 2,600 specialists in consumer, defence and security, energy and utilities, financial services, government, healthcare, life sciences, manufacturing, and transport, travel and logistics. And we operate globally from offices across the Americas, Europe, the Nordics and the Gulf.  </a:t>
            </a:r>
          </a:p>
        </p:txBody>
      </p:sp>
      <p:pic>
        <p:nvPicPr>
          <p:cNvPr id="9" name="picMTD">
            <a:extLst>
              <a:ext uri="{FF2B5EF4-FFF2-40B4-BE49-F238E27FC236}">
                <a16:creationId xmlns:a16="http://schemas.microsoft.com/office/drawing/2014/main" id="{E9575203-F867-49D4-B5A6-C01D93484594}"/>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456423" y="6025113"/>
            <a:ext cx="1771937" cy="280233"/>
          </a:xfrm>
          <a:prstGeom prst="rect">
            <a:avLst/>
          </a:prstGeom>
        </p:spPr>
      </p:pic>
      <p:pic>
        <p:nvPicPr>
          <p:cNvPr id="57" name="picLogoLight" hidden="1">
            <a:extLst>
              <a:ext uri="{FF2B5EF4-FFF2-40B4-BE49-F238E27FC236}">
                <a16:creationId xmlns:a16="http://schemas.microsoft.com/office/drawing/2014/main" id="{B2942888-CD23-457D-9EA4-62C68C20743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8063435" y="584640"/>
            <a:ext cx="575085" cy="564890"/>
          </a:xfrm>
          <a:prstGeom prst="rect">
            <a:avLst/>
          </a:prstGeom>
        </p:spPr>
      </p:pic>
    </p:spTree>
    <p:extLst>
      <p:ext uri="{BB962C8B-B14F-4D97-AF65-F5344CB8AC3E}">
        <p14:creationId xmlns:p14="http://schemas.microsoft.com/office/powerpoint/2010/main" val="3460976022"/>
      </p:ext>
    </p:extLst>
  </p:cSld>
  <p:clrMapOvr>
    <a:masterClrMapping/>
  </p:clrMapOvr>
  <p:transition>
    <p:fade/>
  </p:transition>
  <p:extLst mod="1">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OC Master">
    <p:spTree>
      <p:nvGrpSpPr>
        <p:cNvPr id="1" name=""/>
        <p:cNvGrpSpPr/>
        <p:nvPr/>
      </p:nvGrpSpPr>
      <p:grpSpPr>
        <a:xfrm>
          <a:off x="0" y="0"/>
          <a:ext cx="0" cy="0"/>
          <a:chOff x="0" y="0"/>
          <a:chExt cx="0" cy="0"/>
        </a:xfrm>
      </p:grpSpPr>
      <p:graphicFrame>
        <p:nvGraphicFramePr>
          <p:cNvPr id="7" name="tblTOC"/>
          <p:cNvGraphicFramePr>
            <a:graphicFrameLocks noGrp="1"/>
          </p:cNvGraphicFramePr>
          <p:nvPr userDrawn="1">
            <p:extLst/>
          </p:nvPr>
        </p:nvGraphicFramePr>
        <p:xfrm>
          <a:off x="552451" y="2260097"/>
          <a:ext cx="8035251" cy="1119194"/>
        </p:xfrm>
        <a:graphic>
          <a:graphicData uri="http://schemas.openxmlformats.org/drawingml/2006/table">
            <a:tbl>
              <a:tblPr firstRow="1" bandRow="1"/>
              <a:tblGrid>
                <a:gridCol w="493835">
                  <a:extLst>
                    <a:ext uri="{9D8B030D-6E8A-4147-A177-3AD203B41FA5}">
                      <a16:colId xmlns:a16="http://schemas.microsoft.com/office/drawing/2014/main" val="20000"/>
                    </a:ext>
                  </a:extLst>
                </a:gridCol>
                <a:gridCol w="6904311">
                  <a:extLst>
                    <a:ext uri="{9D8B030D-6E8A-4147-A177-3AD203B41FA5}">
                      <a16:colId xmlns:a16="http://schemas.microsoft.com/office/drawing/2014/main" val="20001"/>
                    </a:ext>
                  </a:extLst>
                </a:gridCol>
                <a:gridCol w="637105">
                  <a:extLst>
                    <a:ext uri="{9D8B030D-6E8A-4147-A177-3AD203B41FA5}">
                      <a16:colId xmlns:a16="http://schemas.microsoft.com/office/drawing/2014/main" val="20002"/>
                    </a:ext>
                  </a:extLst>
                </a:gridCol>
              </a:tblGrid>
              <a:tr h="559597">
                <a:tc>
                  <a:txBody>
                    <a:bodyPr/>
                    <a:lstStyle/>
                    <a:p>
                      <a:pPr marL="0" algn="l" defTabSz="914400" rtl="0" eaLnBrk="1" latinLnBrk="0" hangingPunct="1"/>
                      <a:r>
                        <a:rPr lang="en-GB" sz="1500" b="1" kern="1200" dirty="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chemeClr val="tx1"/>
                          </a:solidFill>
                          <a:effectLst/>
                          <a:uLnTx/>
                          <a:uFillTx/>
                          <a:latin typeface="+mn-lt"/>
                          <a:ea typeface="+mn-ea"/>
                          <a:cs typeface="+mn-cs"/>
                        </a:rPr>
                        <a:t>&lt;title&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r>
                        <a:rPr kumimoji="0" lang="en-GB" sz="1400" b="0" i="0" u="none" strike="noStrike" kern="1200" cap="none" spc="0" normalizeH="0" baseline="0" dirty="0">
                          <a:ln>
                            <a:noFill/>
                          </a:ln>
                          <a:solidFill>
                            <a:schemeClr val="tx1"/>
                          </a:solidFill>
                          <a:effectLst/>
                          <a:uLnTx/>
                          <a:uFillTx/>
                          <a:latin typeface="+mn-lt"/>
                          <a:ea typeface="+mn-ea"/>
                          <a:cs typeface="+mn-cs"/>
                        </a:rPr>
                        <a:t>&lt;no&gt;</a:t>
                      </a:r>
                    </a:p>
                  </a:txBody>
                  <a:tcPr marL="84406" marR="84406" marT="44766" marB="44766" anchor="ctr">
                    <a:lnL w="12700" cmpd="sng">
                      <a:noFill/>
                      <a:prstDash val="solid"/>
                    </a:lnL>
                    <a:lnR w="12700" cmpd="sng">
                      <a:noFill/>
                      <a:prstDash val="solid"/>
                    </a:lnR>
                    <a:lnT w="12700" cmpd="sng">
                      <a:noFill/>
                      <a:prstDash val="soli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0"/>
                  </a:ext>
                </a:extLst>
              </a:tr>
              <a:tr h="559597">
                <a:tc>
                  <a:txBody>
                    <a:bodyPr/>
                    <a:lstStyle/>
                    <a:p>
                      <a:pPr marL="0" algn="l" defTabSz="914400" rtl="0" eaLnBrk="1" latinLnBrk="0" hangingPunct="1"/>
                      <a:r>
                        <a:rPr lang="en-GB" sz="1500" b="1" kern="1200" dirty="0">
                          <a:solidFill>
                            <a:schemeClr val="bg2"/>
                          </a:solidFill>
                          <a:latin typeface="+mn-lt"/>
                          <a:ea typeface="+mn-ea"/>
                          <a:cs typeface="+mn-cs"/>
                        </a:rPr>
                        <a:t>&lt;S#&gt;</a:t>
                      </a:r>
                    </a:p>
                  </a:txBody>
                  <a:tcPr marL="0" marR="0"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dirty="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a:endParaRPr kumimoji="0" lang="en-GB" sz="1400" b="0" i="0" u="none" strike="noStrike" kern="1200" cap="none" spc="0" normalizeH="0" baseline="0" dirty="0">
                        <a:ln>
                          <a:noFill/>
                        </a:ln>
                        <a:solidFill>
                          <a:schemeClr val="tx1"/>
                        </a:solidFill>
                        <a:effectLst/>
                        <a:uLnTx/>
                        <a:uFillTx/>
                        <a:latin typeface="+mn-lt"/>
                        <a:ea typeface="+mn-ea"/>
                        <a:cs typeface="+mn-cs"/>
                      </a:endParaRPr>
                    </a:p>
                  </a:txBody>
                  <a:tcPr marL="84406" marR="84406" marT="44766" marB="44766" anchor="ctr">
                    <a:lnL w="12700" cmpd="sng">
                      <a:noFill/>
                      <a:prstDash val="solid"/>
                    </a:lnL>
                    <a:lnR w="12700" cmpd="sng">
                      <a:noFill/>
                      <a:prstDash val="solid"/>
                    </a:lnR>
                    <a:lnT w="12700" cap="flat" cmpd="sng" algn="ctr">
                      <a:solidFill>
                        <a:schemeClr val="accent4"/>
                      </a:solidFill>
                      <a:prstDash val="solid"/>
                      <a:round/>
                      <a:headEnd type="none" w="med" len="med"/>
                      <a:tailEnd type="none" w="med" len="med"/>
                    </a:lnT>
                    <a:lnB w="12700" cap="flat" cmpd="sng" algn="ctr">
                      <a:solidFill>
                        <a:schemeClr val="accent4"/>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bl>
          </a:graphicData>
        </a:graphic>
      </p:graphicFrame>
      <p:sp>
        <p:nvSpPr>
          <p:cNvPr id="8" name="txtInfo"/>
          <p:cNvSpPr txBox="1"/>
          <p:nvPr userDrawn="1"/>
        </p:nvSpPr>
        <p:spPr>
          <a:xfrm>
            <a:off x="552450" y="610625"/>
            <a:ext cx="7789159" cy="1020023"/>
          </a:xfrm>
          <a:prstGeom prst="rect">
            <a:avLst/>
          </a:prstGeom>
          <a:noFill/>
        </p:spPr>
        <p:txBody>
          <a:bodyPr wrap="square" rtlCol="0">
            <a:spAutoFit/>
          </a:bodyPr>
          <a:lstStyle/>
          <a:p>
            <a:r>
              <a:rPr lang="en-GB" sz="1507" dirty="0"/>
              <a:t>TOC Design Slide – do </a:t>
            </a:r>
            <a:r>
              <a:rPr lang="en-GB" sz="1507" dirty="0">
                <a:solidFill>
                  <a:srgbClr val="FF0000"/>
                </a:solidFill>
              </a:rPr>
              <a:t>NOT</a:t>
            </a:r>
            <a:r>
              <a:rPr lang="en-GB" sz="1507" dirty="0"/>
              <a:t> use this layout.</a:t>
            </a:r>
          </a:p>
          <a:p>
            <a:r>
              <a:rPr lang="en-GB" sz="1507" dirty="0"/>
              <a:t>The</a:t>
            </a:r>
            <a:r>
              <a:rPr lang="en-GB" sz="1507" baseline="0" dirty="0"/>
              <a:t> TOC “Object(s)” shown below will be repeated on as many TOC Slides as needed</a:t>
            </a:r>
          </a:p>
          <a:p>
            <a:r>
              <a:rPr lang="en-GB" sz="1507" dirty="0"/>
              <a:t>The initial position of any</a:t>
            </a:r>
            <a:r>
              <a:rPr lang="en-GB" sz="1507" baseline="0" dirty="0"/>
              <a:t> “xxx</a:t>
            </a:r>
            <a:r>
              <a:rPr lang="en-GB" sz="1507" dirty="0"/>
              <a:t>TOC” named Object(s) will be repeated on the actual slide</a:t>
            </a:r>
          </a:p>
          <a:p>
            <a:r>
              <a:rPr lang="en-GB" sz="1507" dirty="0"/>
              <a:t>The “tags” govern how</a:t>
            </a:r>
            <a:r>
              <a:rPr lang="en-GB" sz="1507" baseline="0" dirty="0"/>
              <a:t> the TOC slide is built.</a:t>
            </a:r>
          </a:p>
        </p:txBody>
      </p:sp>
      <p:sp>
        <p:nvSpPr>
          <p:cNvPr id="9" name="txtTags"/>
          <p:cNvSpPr txBox="1"/>
          <p:nvPr userDrawn="1"/>
        </p:nvSpPr>
        <p:spPr>
          <a:xfrm>
            <a:off x="552449" y="3927056"/>
            <a:ext cx="7789159" cy="3107326"/>
          </a:xfrm>
          <a:prstGeom prst="rect">
            <a:avLst/>
          </a:prstGeom>
          <a:noFill/>
        </p:spPr>
        <p:txBody>
          <a:bodyPr wrap="square" rtlCol="0">
            <a:spAutoFit/>
          </a:bodyPr>
          <a:lstStyle/>
          <a:p>
            <a:r>
              <a:rPr lang="en-GB" sz="1507" dirty="0"/>
              <a:t>&lt;tags&gt;</a:t>
            </a:r>
          </a:p>
          <a:p>
            <a:r>
              <a:rPr lang="en-GB" sz="1507" dirty="0"/>
              <a:t>Title=CONTENTS</a:t>
            </a:r>
          </a:p>
          <a:p>
            <a:r>
              <a:rPr lang="en-GB" sz="1507" dirty="0"/>
              <a:t>Layout=TOC Slide</a:t>
            </a:r>
          </a:p>
          <a:p>
            <a:r>
              <a:rPr lang="en-GB" sz="1507" dirty="0"/>
              <a:t>SlideNumber=2</a:t>
            </a:r>
          </a:p>
          <a:p>
            <a:r>
              <a:rPr lang="en-GB" sz="1507" dirty="0"/>
              <a:t>Type=Table</a:t>
            </a:r>
          </a:p>
          <a:p>
            <a:r>
              <a:rPr lang="en-GB" sz="1507" dirty="0"/>
              <a:t>Table=tblTOC</a:t>
            </a:r>
          </a:p>
          <a:p>
            <a:r>
              <a:rPr lang="en-GB" sz="1507" dirty="0"/>
              <a:t>Limit=7</a:t>
            </a:r>
          </a:p>
          <a:p>
            <a:r>
              <a:rPr lang="en-GB" sz="1507" dirty="0"/>
              <a:t>Entry1=&lt;S#&gt; | plcSectionNumber | ”00”</a:t>
            </a:r>
          </a:p>
          <a:p>
            <a:r>
              <a:rPr lang="en-GB" sz="1507" dirty="0"/>
              <a:t>Entry2=&lt;title&gt; | plcSectionTitle</a:t>
            </a:r>
          </a:p>
          <a:p>
            <a:r>
              <a:rPr lang="en-GB" sz="1507" dirty="0"/>
              <a:t>Entry3=&lt;no&gt; | {slidenumber}</a:t>
            </a:r>
          </a:p>
          <a:p>
            <a:r>
              <a:rPr lang="en-GB" sz="1507" dirty="0"/>
              <a:t>&lt;/tags&gt;</a:t>
            </a:r>
          </a:p>
          <a:p>
            <a:endParaRPr lang="en-GB" sz="1507" dirty="0"/>
          </a:p>
          <a:p>
            <a:endParaRPr lang="en-GB" sz="1507" dirty="0"/>
          </a:p>
        </p:txBody>
      </p:sp>
    </p:spTree>
    <p:extLst>
      <p:ext uri="{BB962C8B-B14F-4D97-AF65-F5344CB8AC3E}">
        <p14:creationId xmlns:p14="http://schemas.microsoft.com/office/powerpoint/2010/main" val="3079659977"/>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OC Slide">
    <p:spTree>
      <p:nvGrpSpPr>
        <p:cNvPr id="1" name=""/>
        <p:cNvGrpSpPr/>
        <p:nvPr/>
      </p:nvGrpSpPr>
      <p:grpSpPr>
        <a:xfrm>
          <a:off x="0" y="0"/>
          <a:ext cx="0" cy="0"/>
          <a:chOff x="0" y="0"/>
          <a:chExt cx="0" cy="0"/>
        </a:xfrm>
      </p:grpSpPr>
      <p:sp>
        <p:nvSpPr>
          <p:cNvPr id="3" name="txtTitle">
            <a:extLst>
              <a:ext uri="{FF2B5EF4-FFF2-40B4-BE49-F238E27FC236}">
                <a16:creationId xmlns:a16="http://schemas.microsoft.com/office/drawing/2014/main" id="{F2E9824F-1DA7-43C9-9374-C0888CEBAC70}"/>
              </a:ext>
            </a:extLst>
          </p:cNvPr>
          <p:cNvSpPr>
            <a:spLocks noGrp="1"/>
          </p:cNvSpPr>
          <p:nvPr>
            <p:ph type="body" sz="quarter" idx="13" hasCustomPrompt="1"/>
          </p:nvPr>
        </p:nvSpPr>
        <p:spPr>
          <a:xfrm>
            <a:off x="553182" y="586862"/>
            <a:ext cx="8038523" cy="1148400"/>
          </a:xfrm>
        </p:spPr>
        <p:txBody>
          <a:bodyPr tIns="0" rIns="0" bIns="0" anchor="t">
            <a:noAutofit/>
          </a:bodyPr>
          <a:lstStyle>
            <a:lvl1pPr algn="l">
              <a:lnSpc>
                <a:spcPct val="100000"/>
              </a:lnSpc>
              <a:spcBef>
                <a:spcPts val="0"/>
              </a:spcBef>
              <a:spcAft>
                <a:spcPts val="0"/>
              </a:spcAft>
              <a:defRPr sz="2585" b="1" cap="all" spc="0" baseline="0">
                <a:solidFill>
                  <a:schemeClr val="bg2"/>
                </a:solidFill>
              </a:defRPr>
            </a:lvl1pPr>
            <a:lvl2pPr>
              <a:lnSpc>
                <a:spcPct val="100000"/>
              </a:lnSpc>
              <a:spcBef>
                <a:spcPts val="0"/>
              </a:spcBef>
              <a:spcAft>
                <a:spcPts val="0"/>
              </a:spcAft>
              <a:defRPr sz="1569" b="0" cap="none" spc="0">
                <a:solidFill>
                  <a:srgbClr val="7A91A6"/>
                </a:solidFill>
              </a:defRPr>
            </a:lvl2pPr>
            <a:lvl3pPr>
              <a:lnSpc>
                <a:spcPct val="100000"/>
              </a:lnSpc>
              <a:spcAft>
                <a:spcPts val="0"/>
              </a:spcAft>
              <a:defRPr sz="1569" spc="0">
                <a:solidFill>
                  <a:srgbClr val="7A91A6"/>
                </a:solidFill>
              </a:defRPr>
            </a:lvl3pPr>
            <a:lvl4pPr marL="0" indent="0">
              <a:spcBef>
                <a:spcPts val="0"/>
              </a:spcBef>
              <a:spcAft>
                <a:spcPts val="0"/>
              </a:spcAft>
              <a:buNone/>
              <a:defRPr sz="1569" spc="0">
                <a:solidFill>
                  <a:srgbClr val="7A91A6"/>
                </a:solidFill>
              </a:defRPr>
            </a:lvl4pPr>
            <a:lvl5pPr marL="0" indent="0">
              <a:spcBef>
                <a:spcPts val="0"/>
              </a:spcBef>
              <a:spcAft>
                <a:spcPts val="0"/>
              </a:spcAft>
              <a:buNone/>
              <a:defRPr sz="1569" spc="0">
                <a:solidFill>
                  <a:srgbClr val="7A91A6"/>
                </a:solidFill>
              </a:defRPr>
            </a:lvl5pPr>
            <a:lvl6pPr marL="0" indent="0">
              <a:lnSpc>
                <a:spcPct val="100000"/>
              </a:lnSpc>
              <a:spcBef>
                <a:spcPts val="0"/>
              </a:spcBef>
              <a:spcAft>
                <a:spcPts val="0"/>
              </a:spcAft>
              <a:buNone/>
              <a:defRPr sz="1569" spc="0">
                <a:solidFill>
                  <a:srgbClr val="7A91A6"/>
                </a:solidFill>
              </a:defRPr>
            </a:lvl6pPr>
            <a:lvl7pPr marL="0" indent="0">
              <a:lnSpc>
                <a:spcPct val="100000"/>
              </a:lnSpc>
              <a:spcBef>
                <a:spcPts val="0"/>
              </a:spcBef>
              <a:spcAft>
                <a:spcPts val="0"/>
              </a:spcAft>
              <a:buNone/>
              <a:defRPr sz="1569" spc="0">
                <a:solidFill>
                  <a:srgbClr val="7A91A6"/>
                </a:solidFill>
              </a:defRPr>
            </a:lvl7pPr>
            <a:lvl8pPr marL="0" indent="0">
              <a:lnSpc>
                <a:spcPct val="100000"/>
              </a:lnSpc>
              <a:spcBef>
                <a:spcPts val="0"/>
              </a:spcBef>
              <a:spcAft>
                <a:spcPts val="0"/>
              </a:spcAft>
              <a:buNone/>
              <a:defRPr sz="1569" spc="0">
                <a:solidFill>
                  <a:srgbClr val="7A91A6"/>
                </a:solidFill>
              </a:defRPr>
            </a:lvl8pPr>
            <a:lvl9pPr marL="0" indent="0">
              <a:lnSpc>
                <a:spcPct val="100000"/>
              </a:lnSpc>
              <a:spcBef>
                <a:spcPts val="0"/>
              </a:spcBef>
              <a:spcAft>
                <a:spcPts val="0"/>
              </a:spcAft>
              <a:buNone/>
              <a:defRPr sz="1569" spc="0">
                <a:solidFill>
                  <a:srgbClr val="7A91A6"/>
                </a:solidFill>
              </a:defRPr>
            </a:lvl9pPr>
          </a:lstStyle>
          <a:p>
            <a:pPr algn="l"/>
            <a:r>
              <a:rPr lang="en-US" sz="2585" dirty="0"/>
              <a:t>CONTENTS</a:t>
            </a:r>
            <a:endParaRPr lang="en-GB" sz="2585" dirty="0" err="1"/>
          </a:p>
        </p:txBody>
      </p:sp>
    </p:spTree>
    <p:extLst>
      <p:ext uri="{BB962C8B-B14F-4D97-AF65-F5344CB8AC3E}">
        <p14:creationId xmlns:p14="http://schemas.microsoft.com/office/powerpoint/2010/main" val="3356390631"/>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9" indent="0" algn="ctr">
              <a:buNone/>
              <a:defRPr sz="1500"/>
            </a:lvl2pPr>
            <a:lvl3pPr marL="685817" indent="0" algn="ctr">
              <a:buNone/>
              <a:defRPr sz="1350"/>
            </a:lvl3pPr>
            <a:lvl4pPr marL="1028726" indent="0" algn="ctr">
              <a:buNone/>
              <a:defRPr sz="1200"/>
            </a:lvl4pPr>
            <a:lvl5pPr marL="1371634" indent="0" algn="ctr">
              <a:buNone/>
              <a:defRPr sz="1200"/>
            </a:lvl5pPr>
            <a:lvl6pPr marL="1714543" indent="0" algn="ctr">
              <a:buNone/>
              <a:defRPr sz="1200"/>
            </a:lvl6pPr>
            <a:lvl7pPr marL="2057451" indent="0" algn="ctr">
              <a:buNone/>
              <a:defRPr sz="1200"/>
            </a:lvl7pPr>
            <a:lvl8pPr marL="2400360" indent="0" algn="ctr">
              <a:buNone/>
              <a:defRPr sz="1200"/>
            </a:lvl8pPr>
            <a:lvl9pPr marL="2743269" indent="0" algn="ctr">
              <a:buNone/>
              <a:defRPr sz="12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BF2647AD-2625-4BB5-AC9C-0F6C41A57422}" type="datetimeFigureOut">
              <a:rPr lang="en-GB" smtClean="0"/>
              <a:t>24/01/2020</a:t>
            </a:fld>
            <a:endParaRPr lang="en-GB" dirty="0"/>
          </a:p>
        </p:txBody>
      </p:sp>
      <p:sp>
        <p:nvSpPr>
          <p:cNvPr id="5" name="Footer Placeholder 4"/>
          <p:cNvSpPr>
            <a:spLocks noGrp="1"/>
          </p:cNvSpPr>
          <p:nvPr>
            <p:ph type="ftr" sz="quarter" idx="11"/>
          </p:nvPr>
        </p:nvSpPr>
        <p:spPr/>
        <p:txBody>
          <a:bodyPr/>
          <a:lstStyle/>
          <a:p>
            <a:endParaRPr lang="en-GB" dirty="0"/>
          </a:p>
        </p:txBody>
      </p:sp>
      <p:sp>
        <p:nvSpPr>
          <p:cNvPr id="6" name="Slide Number Placeholder 5"/>
          <p:cNvSpPr>
            <a:spLocks noGrp="1"/>
          </p:cNvSpPr>
          <p:nvPr>
            <p:ph type="sldNum" sz="quarter" idx="12"/>
          </p:nvPr>
        </p:nvSpPr>
        <p:spPr/>
        <p:txBody>
          <a:bodyPr/>
          <a:lstStyle/>
          <a:p>
            <a:fld id="{D00A6F0B-601D-4751-95AC-FA75F779639E}" type="slidenum">
              <a:rPr lang="en-GB" smtClean="0"/>
              <a:t>‹#›</a:t>
            </a:fld>
            <a:endParaRPr lang="en-GB" dirty="0"/>
          </a:p>
        </p:txBody>
      </p:sp>
    </p:spTree>
    <p:extLst>
      <p:ext uri="{BB962C8B-B14F-4D97-AF65-F5344CB8AC3E}">
        <p14:creationId xmlns:p14="http://schemas.microsoft.com/office/powerpoint/2010/main" val="38094620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2_Title, Content and Extended Content">
    <p:spTree>
      <p:nvGrpSpPr>
        <p:cNvPr id="1" name=""/>
        <p:cNvGrpSpPr/>
        <p:nvPr/>
      </p:nvGrpSpPr>
      <p:grpSpPr>
        <a:xfrm>
          <a:off x="0" y="0"/>
          <a:ext cx="0" cy="0"/>
          <a:chOff x="0" y="0"/>
          <a:chExt cx="0" cy="0"/>
        </a:xfrm>
      </p:grpSpPr>
      <p:sp>
        <p:nvSpPr>
          <p:cNvPr id="5" name="Overview"/>
          <p:cNvSpPr>
            <a:spLocks noGrp="1"/>
          </p:cNvSpPr>
          <p:nvPr>
            <p:ph idx="10"/>
          </p:nvPr>
        </p:nvSpPr>
        <p:spPr>
          <a:xfrm>
            <a:off x="4638518" y="530323"/>
            <a:ext cx="3917694" cy="291278"/>
          </a:xfrm>
          <a:ln>
            <a:noFill/>
          </a:ln>
        </p:spPr>
        <p:txBody>
          <a:bodyPr anchor="ctr"/>
          <a:lstStyle>
            <a:lvl1pPr algn="r">
              <a:buClr>
                <a:schemeClr val="bg2"/>
              </a:buClr>
              <a:defRPr sz="1004" b="0">
                <a:solidFill>
                  <a:schemeClr val="bg1"/>
                </a:solidFill>
              </a:defRPr>
            </a:lvl1pPr>
            <a:lvl2pPr>
              <a:buClr>
                <a:schemeClr val="bg1"/>
              </a:buClr>
              <a:defRPr sz="1004">
                <a:solidFill>
                  <a:schemeClr val="bg1"/>
                </a:solidFill>
              </a:defRPr>
            </a:lvl2pPr>
            <a:lvl3pPr>
              <a:buClr>
                <a:schemeClr val="bg1"/>
              </a:buClr>
              <a:defRPr sz="1004">
                <a:solidFill>
                  <a:schemeClr val="bg1"/>
                </a:solidFill>
              </a:defRPr>
            </a:lvl3pPr>
            <a:lvl4pPr>
              <a:buClr>
                <a:schemeClr val="bg1"/>
              </a:buClr>
              <a:defRPr sz="1004">
                <a:solidFill>
                  <a:schemeClr val="bg1"/>
                </a:solidFill>
              </a:defRPr>
            </a:lvl4pPr>
            <a:lvl5pPr>
              <a:buClr>
                <a:schemeClr val="bg1"/>
              </a:buClr>
              <a:defRPr sz="1004">
                <a:solidFill>
                  <a:schemeClr val="bg1"/>
                </a:solidFill>
              </a:defRPr>
            </a:lvl5pPr>
          </a:lstStyle>
          <a:p>
            <a:pPr lvl="0"/>
            <a:r>
              <a:rPr lang="en-GB" dirty="0"/>
              <a:t>Click to edit Master text styles</a:t>
            </a:r>
          </a:p>
        </p:txBody>
      </p:sp>
      <p:sp>
        <p:nvSpPr>
          <p:cNvPr id="6" name="Rectangle 5"/>
          <p:cNvSpPr/>
          <p:nvPr/>
        </p:nvSpPr>
        <p:spPr bwMode="auto">
          <a:xfrm>
            <a:off x="3636696" y="1619831"/>
            <a:ext cx="4919515" cy="4669429"/>
          </a:xfrm>
          <a:prstGeom prst="rect">
            <a:avLst/>
          </a:prstGeom>
          <a:solidFill>
            <a:schemeClr val="bg1"/>
          </a:solidFill>
          <a:ln w="19050" cap="flat" cmpd="sng" algn="ctr">
            <a:noFill/>
            <a:prstDash val="solid"/>
            <a:round/>
            <a:headEnd type="none" w="med" len="med"/>
            <a:tailEnd type="none" w="med" len="med"/>
          </a:ln>
          <a:effectLst/>
          <a:extLst/>
        </p:spPr>
        <p:txBody>
          <a:bodyPr vert="horz" wrap="none" lIns="75350" tIns="39182" rIns="75350" bIns="39182" numCol="1" rtlCol="0" anchor="ctr" anchorCtr="0" compatLnSpc="1">
            <a:prstTxWarp prst="textNoShape">
              <a:avLst/>
            </a:prstTxWarp>
          </a:bodyPr>
          <a:lstStyle/>
          <a:p>
            <a:pPr>
              <a:buClr>
                <a:srgbClr val="293947"/>
              </a:buClr>
            </a:pPr>
            <a:endParaRPr lang="en-GB" sz="1172" dirty="0"/>
          </a:p>
        </p:txBody>
      </p:sp>
    </p:spTree>
    <p:extLst>
      <p:ext uri="{BB962C8B-B14F-4D97-AF65-F5344CB8AC3E}">
        <p14:creationId xmlns:p14="http://schemas.microsoft.com/office/powerpoint/2010/main" val="81902504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GB"/>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Rectangle 6"/>
          <p:cNvSpPr>
            <a:spLocks noGrp="1" noChangeArrowheads="1"/>
          </p:cNvSpPr>
          <p:nvPr>
            <p:ph type="sldNum" sz="quarter" idx="10"/>
          </p:nvPr>
        </p:nvSpPr>
        <p:spPr>
          <a:ln/>
        </p:spPr>
        <p:txBody>
          <a:bodyPr/>
          <a:lstStyle>
            <a:lvl1pPr>
              <a:defRPr/>
            </a:lvl1pPr>
          </a:lstStyle>
          <a:p>
            <a:pPr>
              <a:defRPr/>
            </a:pPr>
            <a:fld id="{738D88F6-33FA-414F-903B-0466043AEB2F}"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26309268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Rectangle 6"/>
          <p:cNvSpPr>
            <a:spLocks noGrp="1" noChangeArrowheads="1"/>
          </p:cNvSpPr>
          <p:nvPr>
            <p:ph type="sldNum" sz="quarter" idx="10"/>
          </p:nvPr>
        </p:nvSpPr>
        <p:spPr>
          <a:ln/>
        </p:spPr>
        <p:txBody>
          <a:bodyPr/>
          <a:lstStyle>
            <a:lvl1pPr>
              <a:defRPr/>
            </a:lvl1pPr>
          </a:lstStyle>
          <a:p>
            <a:pPr>
              <a:defRPr/>
            </a:pPr>
            <a:fld id="{6759A237-39A3-4A4A-B807-A15C81E0E993}"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127951383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pPr>
              <a:defRPr/>
            </a:pPr>
            <a:fld id="{F8E50D9C-9713-4471-8594-57A2F8F0BD8E}"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12373424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smtClean="0"/>
              <a:t>Click to edit Master title style</a:t>
            </a:r>
            <a:endParaRPr lang="en-GB"/>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4BC806A5-BB8A-4EA4-8877-16B815C0BBF7}"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39414768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smtClean="0"/>
              <a:t>Click to edit Master title style</a:t>
            </a:r>
            <a:endParaRPr lang="en-GB"/>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GB"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pPr>
              <a:defRPr/>
            </a:pPr>
            <a:fld id="{75F0A02B-C919-4982-B584-3B52880300AB}" type="slidenum">
              <a:rPr lang="en-GB" altLang="en-US">
                <a:solidFill>
                  <a:srgbClr val="FFFFFF"/>
                </a:solidFill>
              </a:rPr>
              <a:pPr>
                <a:defRPr/>
              </a:pPr>
              <a:t>‹#›</a:t>
            </a:fld>
            <a:endParaRPr lang="en-GB" altLang="en-US" dirty="0">
              <a:solidFill>
                <a:srgbClr val="FFFFFF"/>
              </a:solidFill>
            </a:endParaRPr>
          </a:p>
        </p:txBody>
      </p:sp>
    </p:spTree>
    <p:extLst>
      <p:ext uri="{BB962C8B-B14F-4D97-AF65-F5344CB8AC3E}">
        <p14:creationId xmlns:p14="http://schemas.microsoft.com/office/powerpoint/2010/main" val="27770222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image" Target="../media/image3.emf"/><Relationship Id="rId21" Type="http://schemas.openxmlformats.org/officeDocument/2006/relationships/slideLayout" Target="../slideLayouts/slideLayout36.xml"/><Relationship Id="rId34" Type="http://schemas.openxmlformats.org/officeDocument/2006/relationships/vmlDrawing" Target="../drawings/vmlDrawing1.v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theme" Target="../theme/theme2.xml"/><Relationship Id="rId38" Type="http://schemas.openxmlformats.org/officeDocument/2006/relationships/oleObject" Target="../embeddings/oleObject1.bin"/><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tags" Target="../tags/tag3.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tags" Target="../tags/tag2.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tags" Target="../tags/tag1.xml"/><Relationship Id="rId8" Type="http://schemas.openxmlformats.org/officeDocument/2006/relationships/slideLayout" Target="../slideLayouts/slideLayout23.xml"/><Relationship Id="rId3"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auto">
      <p:bgPr>
        <a:blipFill dpi="0" rotWithShape="0">
          <a:blip r:embed="rId17"/>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84176" y="398463"/>
            <a:ext cx="8375650" cy="4238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smtClean="0"/>
              <a:t>Click to edit Master title style</a:t>
            </a:r>
          </a:p>
        </p:txBody>
      </p:sp>
      <p:sp>
        <p:nvSpPr>
          <p:cNvPr id="1027" name="Rectangle 3"/>
          <p:cNvSpPr>
            <a:spLocks noGrp="1" noChangeArrowheads="1"/>
          </p:cNvSpPr>
          <p:nvPr>
            <p:ph type="body" idx="1"/>
          </p:nvPr>
        </p:nvSpPr>
        <p:spPr bwMode="auto">
          <a:xfrm>
            <a:off x="384176" y="1708152"/>
            <a:ext cx="8374063" cy="40671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sp>
        <p:nvSpPr>
          <p:cNvPr id="1030" name="Rectangle 6"/>
          <p:cNvSpPr>
            <a:spLocks noGrp="1" noChangeArrowheads="1"/>
          </p:cNvSpPr>
          <p:nvPr>
            <p:ph type="sldNum" sz="quarter" idx="4"/>
          </p:nvPr>
        </p:nvSpPr>
        <p:spPr bwMode="auto">
          <a:xfrm>
            <a:off x="7862889" y="6451600"/>
            <a:ext cx="900112" cy="179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eaLnBrk="1" hangingPunct="1">
              <a:defRPr sz="750">
                <a:solidFill>
                  <a:schemeClr val="tx2"/>
                </a:solidFill>
              </a:defRPr>
            </a:lvl1pPr>
          </a:lstStyle>
          <a:p>
            <a:pPr fontAlgn="base">
              <a:spcBef>
                <a:spcPct val="0"/>
              </a:spcBef>
              <a:spcAft>
                <a:spcPct val="0"/>
              </a:spcAft>
              <a:defRPr/>
            </a:pPr>
            <a:fld id="{36F4F897-910A-4B33-A002-15459B547B2A}" type="slidenum">
              <a:rPr lang="en-GB" altLang="en-US">
                <a:solidFill>
                  <a:srgbClr val="FFFFFF"/>
                </a:solidFill>
              </a:rPr>
              <a:pPr fontAlgn="base">
                <a:spcBef>
                  <a:spcPct val="0"/>
                </a:spcBef>
                <a:spcAft>
                  <a:spcPct val="0"/>
                </a:spcAft>
                <a:defRPr/>
              </a:pPr>
              <a:t>‹#›</a:t>
            </a:fld>
            <a:endParaRPr lang="en-GB" altLang="en-US" dirty="0">
              <a:solidFill>
                <a:srgbClr val="FFFFFF"/>
              </a:solidFill>
            </a:endParaRPr>
          </a:p>
        </p:txBody>
      </p:sp>
    </p:spTree>
    <p:extLst>
      <p:ext uri="{BB962C8B-B14F-4D97-AF65-F5344CB8AC3E}">
        <p14:creationId xmlns:p14="http://schemas.microsoft.com/office/powerpoint/2010/main" val="2238427338"/>
      </p:ext>
    </p:extLst>
  </p:cSld>
  <p:clrMap bg1="lt1" tx1="dk1" bg2="lt2" tx2="dk2" accent1="accent1" accent2="accent2" accent3="accent3" accent4="accent4" accent5="accent5" accent6="accent6" hlink="hlink" folHlink="folHlink"/>
  <p:sldLayoutIdLst>
    <p:sldLayoutId id="2147484395" r:id="rId1"/>
    <p:sldLayoutId id="2147484396" r:id="rId2"/>
    <p:sldLayoutId id="2147484397" r:id="rId3"/>
    <p:sldLayoutId id="2147484398" r:id="rId4"/>
    <p:sldLayoutId id="2147484399" r:id="rId5"/>
    <p:sldLayoutId id="2147484400" r:id="rId6"/>
    <p:sldLayoutId id="2147484401" r:id="rId7"/>
    <p:sldLayoutId id="2147484402" r:id="rId8"/>
    <p:sldLayoutId id="2147484403" r:id="rId9"/>
    <p:sldLayoutId id="2147484404" r:id="rId10"/>
    <p:sldLayoutId id="2147484405" r:id="rId11"/>
    <p:sldLayoutId id="2147484459" r:id="rId12"/>
    <p:sldLayoutId id="2147484460" r:id="rId13"/>
    <p:sldLayoutId id="2147484461" r:id="rId14"/>
    <p:sldLayoutId id="2147484462" r:id="rId15"/>
  </p:sldLayoutIdLst>
  <p:txStyles>
    <p:titleStyle>
      <a:lvl1pPr algn="l" rtl="0" eaLnBrk="0" fontAlgn="base" hangingPunct="0">
        <a:spcBef>
          <a:spcPct val="0"/>
        </a:spcBef>
        <a:spcAft>
          <a:spcPct val="0"/>
        </a:spcAft>
        <a:defRPr sz="1950" b="1">
          <a:solidFill>
            <a:schemeClr val="tx2"/>
          </a:solidFill>
          <a:latin typeface="+mj-lt"/>
          <a:ea typeface="+mj-ea"/>
          <a:cs typeface="+mj-cs"/>
        </a:defRPr>
      </a:lvl1pPr>
      <a:lvl2pPr algn="l" rtl="0" eaLnBrk="0" fontAlgn="base" hangingPunct="0">
        <a:spcBef>
          <a:spcPct val="0"/>
        </a:spcBef>
        <a:spcAft>
          <a:spcPct val="0"/>
        </a:spcAft>
        <a:defRPr sz="1950" b="1">
          <a:solidFill>
            <a:schemeClr val="tx2"/>
          </a:solidFill>
          <a:latin typeface="Arial" charset="0"/>
        </a:defRPr>
      </a:lvl2pPr>
      <a:lvl3pPr algn="l" rtl="0" eaLnBrk="0" fontAlgn="base" hangingPunct="0">
        <a:spcBef>
          <a:spcPct val="0"/>
        </a:spcBef>
        <a:spcAft>
          <a:spcPct val="0"/>
        </a:spcAft>
        <a:defRPr sz="1950" b="1">
          <a:solidFill>
            <a:schemeClr val="tx2"/>
          </a:solidFill>
          <a:latin typeface="Arial" charset="0"/>
        </a:defRPr>
      </a:lvl3pPr>
      <a:lvl4pPr algn="l" rtl="0" eaLnBrk="0" fontAlgn="base" hangingPunct="0">
        <a:spcBef>
          <a:spcPct val="0"/>
        </a:spcBef>
        <a:spcAft>
          <a:spcPct val="0"/>
        </a:spcAft>
        <a:defRPr sz="1950" b="1">
          <a:solidFill>
            <a:schemeClr val="tx2"/>
          </a:solidFill>
          <a:latin typeface="Arial" charset="0"/>
        </a:defRPr>
      </a:lvl4pPr>
      <a:lvl5pPr algn="l" rtl="0" eaLnBrk="0" fontAlgn="base" hangingPunct="0">
        <a:spcBef>
          <a:spcPct val="0"/>
        </a:spcBef>
        <a:spcAft>
          <a:spcPct val="0"/>
        </a:spcAft>
        <a:defRPr sz="1950" b="1">
          <a:solidFill>
            <a:schemeClr val="tx2"/>
          </a:solidFill>
          <a:latin typeface="Arial" charset="0"/>
        </a:defRPr>
      </a:lvl5pPr>
      <a:lvl6pPr marL="342900" algn="l" rtl="0" fontAlgn="base">
        <a:spcBef>
          <a:spcPct val="0"/>
        </a:spcBef>
        <a:spcAft>
          <a:spcPct val="0"/>
        </a:spcAft>
        <a:defRPr sz="1950" b="1">
          <a:solidFill>
            <a:schemeClr val="tx2"/>
          </a:solidFill>
          <a:latin typeface="Arial" charset="0"/>
        </a:defRPr>
      </a:lvl6pPr>
      <a:lvl7pPr marL="685800" algn="l" rtl="0" fontAlgn="base">
        <a:spcBef>
          <a:spcPct val="0"/>
        </a:spcBef>
        <a:spcAft>
          <a:spcPct val="0"/>
        </a:spcAft>
        <a:defRPr sz="1950" b="1">
          <a:solidFill>
            <a:schemeClr val="tx2"/>
          </a:solidFill>
          <a:latin typeface="Arial" charset="0"/>
        </a:defRPr>
      </a:lvl7pPr>
      <a:lvl8pPr marL="1028700" algn="l" rtl="0" fontAlgn="base">
        <a:spcBef>
          <a:spcPct val="0"/>
        </a:spcBef>
        <a:spcAft>
          <a:spcPct val="0"/>
        </a:spcAft>
        <a:defRPr sz="1950" b="1">
          <a:solidFill>
            <a:schemeClr val="tx2"/>
          </a:solidFill>
          <a:latin typeface="Arial" charset="0"/>
        </a:defRPr>
      </a:lvl8pPr>
      <a:lvl9pPr marL="1371600" algn="l" rtl="0" fontAlgn="base">
        <a:spcBef>
          <a:spcPct val="0"/>
        </a:spcBef>
        <a:spcAft>
          <a:spcPct val="0"/>
        </a:spcAft>
        <a:defRPr sz="1950" b="1">
          <a:solidFill>
            <a:schemeClr val="tx2"/>
          </a:solidFill>
          <a:latin typeface="Arial" charset="0"/>
        </a:defRPr>
      </a:lvl9pPr>
    </p:titleStyle>
    <p:bodyStyle>
      <a:lvl1pPr marL="202406" indent="-202406" algn="l" rtl="0" eaLnBrk="0" fontAlgn="base" hangingPunct="0">
        <a:spcBef>
          <a:spcPct val="0"/>
        </a:spcBef>
        <a:spcAft>
          <a:spcPct val="75000"/>
        </a:spcAft>
        <a:buChar char="•"/>
        <a:defRPr sz="1500">
          <a:solidFill>
            <a:schemeClr val="tx1"/>
          </a:solidFill>
          <a:latin typeface="+mn-lt"/>
          <a:ea typeface="+mn-ea"/>
          <a:cs typeface="+mn-cs"/>
        </a:defRPr>
      </a:lvl1pPr>
      <a:lvl2pPr marL="403622" indent="-200025" algn="l" rtl="0" eaLnBrk="0" fontAlgn="base" hangingPunct="0">
        <a:spcBef>
          <a:spcPct val="0"/>
        </a:spcBef>
        <a:spcAft>
          <a:spcPct val="75000"/>
        </a:spcAft>
        <a:buChar char="•"/>
        <a:defRPr sz="1500">
          <a:solidFill>
            <a:schemeClr val="tx1"/>
          </a:solidFill>
          <a:latin typeface="+mn-lt"/>
        </a:defRPr>
      </a:lvl2pPr>
      <a:lvl3pPr marL="607219" indent="-202406" algn="l" rtl="0" eaLnBrk="0" fontAlgn="base" hangingPunct="0">
        <a:spcBef>
          <a:spcPct val="0"/>
        </a:spcBef>
        <a:spcAft>
          <a:spcPct val="75000"/>
        </a:spcAft>
        <a:buChar char="•"/>
        <a:defRPr sz="1500">
          <a:solidFill>
            <a:schemeClr val="tx1"/>
          </a:solidFill>
          <a:latin typeface="+mn-lt"/>
        </a:defRPr>
      </a:lvl3pPr>
      <a:lvl4pPr marL="809625" indent="-201216" algn="l" rtl="0" eaLnBrk="0" fontAlgn="base" hangingPunct="0">
        <a:spcBef>
          <a:spcPct val="0"/>
        </a:spcBef>
        <a:spcAft>
          <a:spcPct val="75000"/>
        </a:spcAft>
        <a:buChar char="•"/>
        <a:defRPr sz="1500">
          <a:solidFill>
            <a:schemeClr val="tx1"/>
          </a:solidFill>
          <a:latin typeface="+mn-lt"/>
        </a:defRPr>
      </a:lvl4pPr>
      <a:lvl5pPr marL="1013222" indent="-202406" algn="l" rtl="0" eaLnBrk="0" fontAlgn="base" hangingPunct="0">
        <a:spcBef>
          <a:spcPct val="0"/>
        </a:spcBef>
        <a:spcAft>
          <a:spcPct val="75000"/>
        </a:spcAft>
        <a:buChar char="•"/>
        <a:defRPr sz="1500">
          <a:solidFill>
            <a:schemeClr val="tx1"/>
          </a:solidFill>
          <a:latin typeface="+mn-lt"/>
        </a:defRPr>
      </a:lvl5pPr>
      <a:lvl6pPr marL="1356122" indent="-202406" algn="l" rtl="0" fontAlgn="base">
        <a:spcBef>
          <a:spcPct val="0"/>
        </a:spcBef>
        <a:spcAft>
          <a:spcPct val="75000"/>
        </a:spcAft>
        <a:buChar char="•"/>
        <a:defRPr sz="1500">
          <a:solidFill>
            <a:schemeClr val="tx1"/>
          </a:solidFill>
          <a:latin typeface="+mn-lt"/>
        </a:defRPr>
      </a:lvl6pPr>
      <a:lvl7pPr marL="1699022" indent="-202406" algn="l" rtl="0" fontAlgn="base">
        <a:spcBef>
          <a:spcPct val="0"/>
        </a:spcBef>
        <a:spcAft>
          <a:spcPct val="75000"/>
        </a:spcAft>
        <a:buChar char="•"/>
        <a:defRPr sz="1500">
          <a:solidFill>
            <a:schemeClr val="tx1"/>
          </a:solidFill>
          <a:latin typeface="+mn-lt"/>
        </a:defRPr>
      </a:lvl7pPr>
      <a:lvl8pPr marL="2041922" indent="-202406" algn="l" rtl="0" fontAlgn="base">
        <a:spcBef>
          <a:spcPct val="0"/>
        </a:spcBef>
        <a:spcAft>
          <a:spcPct val="75000"/>
        </a:spcAft>
        <a:buChar char="•"/>
        <a:defRPr sz="1500">
          <a:solidFill>
            <a:schemeClr val="tx1"/>
          </a:solidFill>
          <a:latin typeface="+mn-lt"/>
        </a:defRPr>
      </a:lvl8pPr>
      <a:lvl9pPr marL="2384822" indent="-202406" algn="l" rtl="0" fontAlgn="base">
        <a:spcBef>
          <a:spcPct val="0"/>
        </a:spcBef>
        <a:spcAft>
          <a:spcPct val="75000"/>
        </a:spcAft>
        <a:buChar char="•"/>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D3BB0A5-2E1F-4820-B215-457B87DA1420}"/>
              </a:ext>
            </a:extLst>
          </p:cNvPr>
          <p:cNvGraphicFramePr>
            <a:graphicFrameLocks noChangeAspect="1"/>
          </p:cNvGraphicFramePr>
          <p:nvPr userDrawn="1">
            <p:custDataLst>
              <p:tags r:id="rId35"/>
            </p:custDataLst>
            <p:ext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1049" name="think-cell Slide" r:id="rId38" imgW="530" imgH="528" progId="TCLayout.ActiveDocument.1">
                  <p:embed/>
                </p:oleObj>
              </mc:Choice>
              <mc:Fallback>
                <p:oleObj name="think-cell Slide" r:id="rId38" imgW="530" imgH="528" progId="TCLayout.ActiveDocument.1">
                  <p:embed/>
                  <p:pic>
                    <p:nvPicPr>
                      <p:cNvPr id="5" name="Object 4" hidden="1">
                        <a:extLst>
                          <a:ext uri="{FF2B5EF4-FFF2-40B4-BE49-F238E27FC236}">
                            <a16:creationId xmlns:a16="http://schemas.microsoft.com/office/drawing/2014/main" id="{AD3BB0A5-2E1F-4820-B215-457B87DA1420}"/>
                          </a:ext>
                        </a:extLst>
                      </p:cNvPr>
                      <p:cNvPicPr/>
                      <p:nvPr/>
                    </p:nvPicPr>
                    <p:blipFill>
                      <a:blip r:embed="rId39"/>
                      <a:stretch>
                        <a:fillRect/>
                      </a:stretch>
                    </p:blipFill>
                    <p:spPr>
                      <a:xfrm>
                        <a:off x="1466" y="1589"/>
                        <a:ext cx="1465" cy="1587"/>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13172F8-7415-4652-8574-874637E04958}"/>
              </a:ext>
            </a:extLst>
          </p:cNvPr>
          <p:cNvSpPr/>
          <p:nvPr userDrawn="1">
            <p:custDataLst>
              <p:tags r:id="rId36"/>
            </p:custDataLst>
          </p:nvPr>
        </p:nvSpPr>
        <p:spPr>
          <a:xfrm>
            <a:off x="0" y="0"/>
            <a:ext cx="146538"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85" b="1" i="0" baseline="0" dirty="0">
              <a:latin typeface="Arial" panose="020B0604020202020204" pitchFamily="34" charset="0"/>
              <a:ea typeface="+mj-ea"/>
              <a:cs typeface="+mj-cs"/>
              <a:sym typeface="Arial" panose="020B0604020202020204" pitchFamily="34" charset="0"/>
            </a:endParaRPr>
          </a:p>
        </p:txBody>
      </p:sp>
      <p:sp>
        <p:nvSpPr>
          <p:cNvPr id="18" name="Rectangle 17"/>
          <p:cNvSpPr/>
          <p:nvPr userDrawn="1"/>
        </p:nvSpPr>
        <p:spPr>
          <a:xfrm>
            <a:off x="284285" y="296862"/>
            <a:ext cx="8575431" cy="615632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62" dirty="0"/>
          </a:p>
        </p:txBody>
      </p:sp>
      <p:sp>
        <p:nvSpPr>
          <p:cNvPr id="2" name="Title Placeholder 1"/>
          <p:cNvSpPr>
            <a:spLocks noGrp="1"/>
          </p:cNvSpPr>
          <p:nvPr>
            <p:ph type="title"/>
          </p:nvPr>
        </p:nvSpPr>
        <p:spPr>
          <a:xfrm>
            <a:off x="553184" y="593912"/>
            <a:ext cx="8039833" cy="1148400"/>
          </a:xfrm>
          <a:prstGeom prst="rect">
            <a:avLst/>
          </a:prstGeom>
        </p:spPr>
        <p:txBody>
          <a:bodyPr vert="horz" lIns="0" tIns="0" rIns="91440" bIns="0" rtlCol="0" anchor="t">
            <a:normAutofit/>
          </a:bodyPr>
          <a:lstStyle/>
          <a:p>
            <a:r>
              <a:rPr lang="en-US" dirty="0"/>
              <a:t>Click to edit Master title style</a:t>
            </a:r>
            <a:endParaRPr lang="en-GB" dirty="0"/>
          </a:p>
        </p:txBody>
      </p:sp>
      <p:sp>
        <p:nvSpPr>
          <p:cNvPr id="3" name="Text Placeholder 2"/>
          <p:cNvSpPr>
            <a:spLocks noGrp="1"/>
          </p:cNvSpPr>
          <p:nvPr>
            <p:ph type="body" idx="1"/>
          </p:nvPr>
        </p:nvSpPr>
        <p:spPr>
          <a:xfrm>
            <a:off x="553183" y="1973266"/>
            <a:ext cx="8039833" cy="4192587"/>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GB" dirty="0"/>
              <a:t>Seventh level</a:t>
            </a:r>
          </a:p>
          <a:p>
            <a:pPr lvl="7"/>
            <a:r>
              <a:rPr lang="en-GB" dirty="0"/>
              <a:t>Eight level</a:t>
            </a:r>
          </a:p>
          <a:p>
            <a:pPr lvl="8"/>
            <a:r>
              <a:rPr lang="en-GB" dirty="0"/>
              <a:t>Ninth level</a:t>
            </a:r>
          </a:p>
        </p:txBody>
      </p:sp>
      <p:sp>
        <p:nvSpPr>
          <p:cNvPr id="7" name="txtSecureMarker2" hidden="1"/>
          <p:cNvSpPr txBox="1"/>
          <p:nvPr userDrawn="1"/>
        </p:nvSpPr>
        <p:spPr>
          <a:xfrm>
            <a:off x="2820943" y="6530087"/>
            <a:ext cx="3502116" cy="248530"/>
          </a:xfrm>
          <a:prstGeom prst="rect">
            <a:avLst/>
          </a:prstGeom>
          <a:noFill/>
        </p:spPr>
        <p:txBody>
          <a:bodyPr wrap="square" rtlCol="0">
            <a:sp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11" name="txtSecureMarker1" hidden="1"/>
          <p:cNvSpPr txBox="1"/>
          <p:nvPr userDrawn="1"/>
        </p:nvSpPr>
        <p:spPr>
          <a:xfrm>
            <a:off x="2820943" y="35253"/>
            <a:ext cx="3502116" cy="248530"/>
          </a:xfrm>
          <a:prstGeom prst="rect">
            <a:avLst/>
          </a:prstGeom>
          <a:noFill/>
        </p:spPr>
        <p:txBody>
          <a:bodyPr wrap="square" rtlCol="0">
            <a:spAutoFit/>
          </a:bodyPr>
          <a:lstStyle/>
          <a:p>
            <a:pPr algn="ctr"/>
            <a:r>
              <a:rPr lang="en-GB" sz="1015" dirty="0">
                <a:solidFill>
                  <a:srgbClr val="000000"/>
                </a:solidFill>
              </a:rPr>
              <a:t>SC</a:t>
            </a:r>
            <a:r>
              <a:rPr lang="en-GB" sz="1015" baseline="0" dirty="0">
                <a:solidFill>
                  <a:srgbClr val="000000"/>
                </a:solidFill>
              </a:rPr>
              <a:t> TEXT GOES HERE</a:t>
            </a:r>
            <a:endParaRPr lang="en-GB" sz="1015" dirty="0">
              <a:solidFill>
                <a:srgbClr val="000000"/>
              </a:solidFill>
            </a:endParaRPr>
          </a:p>
        </p:txBody>
      </p:sp>
      <p:sp>
        <p:nvSpPr>
          <p:cNvPr id="10" name="plcSlideNumber"/>
          <p:cNvSpPr>
            <a:spLocks noGrp="1"/>
          </p:cNvSpPr>
          <p:nvPr userDrawn="1"/>
        </p:nvSpPr>
        <p:spPr>
          <a:xfrm>
            <a:off x="8216551" y="6548183"/>
            <a:ext cx="643166" cy="211454"/>
          </a:xfrm>
          <a:prstGeom prst="rect">
            <a:avLst/>
          </a:prstGeom>
        </p:spPr>
        <p:txBody>
          <a:bodyPr vert="horz" lIns="84406" tIns="42203" rIns="0" bIns="42203"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fld id="{2764D758-178E-4044-96D2-948E9A9D94EB}" type="slidenum">
              <a:rPr lang="en-GB" sz="1015" smtClean="0">
                <a:solidFill>
                  <a:srgbClr val="9AB1C5"/>
                </a:solidFill>
              </a:rPr>
              <a:pPr algn="r"/>
              <a:t>‹#›</a:t>
            </a:fld>
            <a:endParaRPr lang="en-GB" sz="1015" dirty="0">
              <a:solidFill>
                <a:srgbClr val="9AB1C5"/>
              </a:solidFill>
            </a:endParaRPr>
          </a:p>
        </p:txBody>
      </p:sp>
      <p:sp>
        <p:nvSpPr>
          <p:cNvPr id="4" name="txtFooter"/>
          <p:cNvSpPr txBox="1"/>
          <p:nvPr userDrawn="1"/>
        </p:nvSpPr>
        <p:spPr>
          <a:xfrm>
            <a:off x="284286" y="6560741"/>
            <a:ext cx="6700129" cy="191719"/>
          </a:xfrm>
          <a:prstGeom prst="rect">
            <a:avLst/>
          </a:prstGeom>
          <a:noFill/>
        </p:spPr>
        <p:txBody>
          <a:bodyPr wrap="square" lIns="0" rIns="0" rtlCol="0">
            <a:spAutoFit/>
          </a:bodyPr>
          <a:lstStyle/>
          <a:p>
            <a:pPr marL="0" marR="0" lvl="0" indent="0" algn="l" defTabSz="844104" rtl="0" eaLnBrk="1" fontAlgn="auto" latinLnBrk="0" hangingPunct="1">
              <a:lnSpc>
                <a:spcPct val="100000"/>
              </a:lnSpc>
              <a:spcBef>
                <a:spcPts val="0"/>
              </a:spcBef>
              <a:spcAft>
                <a:spcPts val="0"/>
              </a:spcAft>
              <a:buClrTx/>
              <a:buSzTx/>
              <a:buFontTx/>
              <a:buNone/>
              <a:tabLst/>
              <a:defRPr/>
            </a:pPr>
            <a:r>
              <a:rPr lang="en-GB" sz="646" dirty="0">
                <a:solidFill>
                  <a:srgbClr val="9AB1C5"/>
                </a:solidFill>
              </a:rPr>
              <a:t>© PA Knowledge Limited  |  Confidential between PA and the University of Cambridge</a:t>
            </a:r>
          </a:p>
        </p:txBody>
      </p:sp>
      <p:sp>
        <p:nvSpPr>
          <p:cNvPr id="15" name="Date Placeholder 4">
            <a:extLst>
              <a:ext uri="{FF2B5EF4-FFF2-40B4-BE49-F238E27FC236}">
                <a16:creationId xmlns:a16="http://schemas.microsoft.com/office/drawing/2014/main" id="{3840CAD5-A4A3-48DC-A968-A640DBA654C3}"/>
              </a:ext>
            </a:extLst>
          </p:cNvPr>
          <p:cNvSpPr>
            <a:spLocks noGrp="1"/>
          </p:cNvSpPr>
          <p:nvPr>
            <p:ph type="dt" sz="half" idx="2"/>
          </p:nvPr>
        </p:nvSpPr>
        <p:spPr>
          <a:xfrm>
            <a:off x="559343" y="5531670"/>
            <a:ext cx="8031476" cy="792017"/>
          </a:xfrm>
          <a:prstGeom prst="rect">
            <a:avLst/>
          </a:prstGeom>
        </p:spPr>
        <p:txBody>
          <a:bodyPr vert="horz" lIns="0" tIns="45720" rIns="91440" bIns="45720" rtlCol="0" anchor="t"/>
          <a:lstStyle>
            <a:lvl1pPr algn="l">
              <a:defRPr lang="en-GB" sz="1292" b="0" kern="1200" cap="none" baseline="0" smtClean="0">
                <a:solidFill>
                  <a:schemeClr val="tx1"/>
                </a:solidFill>
                <a:latin typeface="+mn-lt"/>
                <a:ea typeface="+mn-ea"/>
                <a:cs typeface="+mn-cs"/>
              </a:defRPr>
            </a:lvl1pPr>
          </a:lstStyle>
          <a:p>
            <a:endParaRPr lang="en-GB" dirty="0"/>
          </a:p>
        </p:txBody>
      </p:sp>
      <p:sp>
        <p:nvSpPr>
          <p:cNvPr id="6" name="Rectangle 5" hidden="1">
            <a:extLst>
              <a:ext uri="{FF2B5EF4-FFF2-40B4-BE49-F238E27FC236}">
                <a16:creationId xmlns:a16="http://schemas.microsoft.com/office/drawing/2014/main" id="{F3327E75-8554-4BB1-93FC-A74EB762D246}"/>
              </a:ext>
            </a:extLst>
          </p:cNvPr>
          <p:cNvSpPr/>
          <p:nvPr userDrawn="1">
            <p:custDataLst>
              <p:tags r:id="rId37"/>
            </p:custDataLst>
          </p:nvPr>
        </p:nvSpPr>
        <p:spPr>
          <a:xfrm>
            <a:off x="0" y="0"/>
            <a:ext cx="146538" cy="15875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585" b="1" i="0" baseline="0" dirty="0">
              <a:latin typeface="Arial" panose="020B0604020202020204" pitchFamily="34" charset="0"/>
              <a:ea typeface="+mj-ea"/>
              <a:cs typeface="+mj-cs"/>
              <a:sym typeface="Arial" panose="020B0604020202020204" pitchFamily="34" charset="0"/>
            </a:endParaRPr>
          </a:p>
        </p:txBody>
      </p:sp>
    </p:spTree>
    <p:extLst>
      <p:ext uri="{BB962C8B-B14F-4D97-AF65-F5344CB8AC3E}">
        <p14:creationId xmlns:p14="http://schemas.microsoft.com/office/powerpoint/2010/main" val="1259055771"/>
      </p:ext>
    </p:extLst>
  </p:cSld>
  <p:clrMap bg1="lt1" tx1="dk1" bg2="lt2" tx2="dk2" accent1="accent1" accent2="accent2" accent3="accent3" accent4="accent4" accent5="accent5" accent6="accent6" hlink="hlink" folHlink="folHlink"/>
  <p:sldLayoutIdLst>
    <p:sldLayoutId id="2147484422" r:id="rId1"/>
    <p:sldLayoutId id="2147484423" r:id="rId2"/>
    <p:sldLayoutId id="2147484424" r:id="rId3"/>
    <p:sldLayoutId id="2147484425" r:id="rId4"/>
    <p:sldLayoutId id="2147484426" r:id="rId5"/>
    <p:sldLayoutId id="2147484427" r:id="rId6"/>
    <p:sldLayoutId id="2147484428" r:id="rId7"/>
    <p:sldLayoutId id="2147484429" r:id="rId8"/>
    <p:sldLayoutId id="2147484430" r:id="rId9"/>
    <p:sldLayoutId id="2147484431" r:id="rId10"/>
    <p:sldLayoutId id="2147484432" r:id="rId11"/>
    <p:sldLayoutId id="2147484433" r:id="rId12"/>
    <p:sldLayoutId id="2147484434" r:id="rId13"/>
    <p:sldLayoutId id="2147484435" r:id="rId14"/>
    <p:sldLayoutId id="2147484436" r:id="rId15"/>
    <p:sldLayoutId id="2147484437" r:id="rId16"/>
    <p:sldLayoutId id="2147484438" r:id="rId17"/>
    <p:sldLayoutId id="2147484439" r:id="rId18"/>
    <p:sldLayoutId id="2147484440" r:id="rId19"/>
    <p:sldLayoutId id="2147484441" r:id="rId20"/>
    <p:sldLayoutId id="2147484442" r:id="rId21"/>
    <p:sldLayoutId id="2147484443" r:id="rId22"/>
    <p:sldLayoutId id="2147484444" r:id="rId23"/>
    <p:sldLayoutId id="2147484445" r:id="rId24"/>
    <p:sldLayoutId id="2147484446" r:id="rId25"/>
    <p:sldLayoutId id="2147484447" r:id="rId26"/>
    <p:sldLayoutId id="2147484448" r:id="rId27"/>
    <p:sldLayoutId id="2147484449" r:id="rId28"/>
    <p:sldLayoutId id="2147484450" r:id="rId29"/>
    <p:sldLayoutId id="2147484451" r:id="rId30"/>
    <p:sldLayoutId id="2147484452" r:id="rId31"/>
    <p:sldLayoutId id="2147484453" r:id="rId32"/>
  </p:sldLayoutIdLst>
  <p:transition>
    <p:fade/>
  </p:transition>
  <p:hf sldNum="0" hdr="0" ftr="0" dt="0"/>
  <p:txStyles>
    <p:titleStyle>
      <a:lvl1pPr algn="l" defTabSz="844104" rtl="0" eaLnBrk="1" latinLnBrk="0" hangingPunct="1">
        <a:lnSpc>
          <a:spcPct val="100000"/>
        </a:lnSpc>
        <a:spcBef>
          <a:spcPct val="0"/>
        </a:spcBef>
        <a:buNone/>
        <a:defRPr sz="2585" b="1" kern="1200" cap="all" spc="0" baseline="0">
          <a:solidFill>
            <a:schemeClr val="bg2"/>
          </a:solidFill>
          <a:latin typeface="+mj-lt"/>
          <a:ea typeface="+mj-ea"/>
          <a:cs typeface="+mj-cs"/>
        </a:defRPr>
      </a:lvl1pPr>
    </p:titleStyle>
    <p:bodyStyle>
      <a:lvl1pPr marL="0" indent="0" algn="l" defTabSz="844104" rtl="0" eaLnBrk="1" latinLnBrk="0" hangingPunct="1">
        <a:lnSpc>
          <a:spcPct val="100000"/>
        </a:lnSpc>
        <a:spcBef>
          <a:spcPts val="0"/>
        </a:spcBef>
        <a:spcAft>
          <a:spcPts val="738"/>
        </a:spcAft>
        <a:buFont typeface="Arial" panose="020B0604020202020204" pitchFamily="34" charset="0"/>
        <a:buNone/>
        <a:defRPr sz="1292" b="1" kern="1200" cap="all" baseline="0">
          <a:solidFill>
            <a:schemeClr val="tx1"/>
          </a:solidFill>
          <a:latin typeface="+mn-lt"/>
          <a:ea typeface="+mn-ea"/>
          <a:cs typeface="+mn-cs"/>
        </a:defRPr>
      </a:lvl1pPr>
      <a:lvl2pPr marL="0" indent="0" algn="l" defTabSz="844104" rtl="0" eaLnBrk="1" latinLnBrk="0" hangingPunct="1">
        <a:lnSpc>
          <a:spcPct val="100000"/>
        </a:lnSpc>
        <a:spcBef>
          <a:spcPts val="0"/>
        </a:spcBef>
        <a:spcAft>
          <a:spcPts val="738"/>
        </a:spcAft>
        <a:buFont typeface="Arial" panose="020B0604020202020204" pitchFamily="34" charset="0"/>
        <a:buNone/>
        <a:defRPr sz="1292" b="0" kern="1200" cap="none" baseline="0">
          <a:solidFill>
            <a:schemeClr val="tx1"/>
          </a:solidFill>
          <a:latin typeface="+mn-lt"/>
          <a:ea typeface="+mn-ea"/>
          <a:cs typeface="+mn-cs"/>
        </a:defRPr>
      </a:lvl2pPr>
      <a:lvl3pPr marL="0" indent="0" algn="l" defTabSz="844104" rtl="0" eaLnBrk="1" latinLnBrk="0" hangingPunct="1">
        <a:lnSpc>
          <a:spcPct val="100000"/>
        </a:lnSpc>
        <a:spcBef>
          <a:spcPts val="0"/>
        </a:spcBef>
        <a:spcAft>
          <a:spcPts val="738"/>
        </a:spcAft>
        <a:buFont typeface="Arial" panose="020B0604020202020204" pitchFamily="34" charset="0"/>
        <a:buNone/>
        <a:defRPr sz="1015" kern="1200">
          <a:solidFill>
            <a:schemeClr val="tx1"/>
          </a:solidFill>
          <a:latin typeface="+mn-lt"/>
          <a:ea typeface="+mn-ea"/>
          <a:cs typeface="+mn-cs"/>
        </a:defRPr>
      </a:lvl3pPr>
      <a:lvl4pPr marL="166163" indent="-168529" algn="l" defTabSz="844104"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4pPr>
      <a:lvl5pPr marL="331194" indent="-169486" algn="l" defTabSz="844104" rtl="0" eaLnBrk="1" latinLnBrk="0" hangingPunct="1">
        <a:lnSpc>
          <a:spcPct val="100000"/>
        </a:lnSpc>
        <a:spcBef>
          <a:spcPts val="0"/>
        </a:spcBef>
        <a:spcAft>
          <a:spcPts val="738"/>
        </a:spcAft>
        <a:buClr>
          <a:schemeClr val="bg2"/>
        </a:buClr>
        <a:buSzPct val="100000"/>
        <a:buFont typeface="Arial" panose="020B0604020202020204" pitchFamily="34" charset="0"/>
        <a:buChar char="-"/>
        <a:defRPr sz="1015" kern="1200">
          <a:solidFill>
            <a:schemeClr val="tx1"/>
          </a:solidFill>
          <a:latin typeface="+mn-lt"/>
          <a:ea typeface="+mn-ea"/>
          <a:cs typeface="+mn-cs"/>
        </a:defRPr>
      </a:lvl5pPr>
      <a:lvl6pPr marL="499722" indent="-168529" algn="l" defTabSz="844104"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6pPr>
      <a:lvl7pPr marL="664649" indent="-169486" algn="l" defTabSz="844104"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7pPr>
      <a:lvl8pPr marL="829450" indent="-168529" algn="l" defTabSz="844104" rtl="0" eaLnBrk="1" latinLnBrk="0" hangingPunct="1">
        <a:lnSpc>
          <a:spcPct val="100000"/>
        </a:lnSpc>
        <a:spcBef>
          <a:spcPts val="0"/>
        </a:spcBef>
        <a:spcAft>
          <a:spcPts val="738"/>
        </a:spcAft>
        <a:buClr>
          <a:schemeClr val="bg2"/>
        </a:buClr>
        <a:buFont typeface="Arial" panose="020B0604020202020204" pitchFamily="34" charset="0"/>
        <a:buChar char="-"/>
        <a:defRPr sz="1015" kern="1200">
          <a:solidFill>
            <a:schemeClr val="tx1"/>
          </a:solidFill>
          <a:latin typeface="+mn-lt"/>
          <a:ea typeface="+mn-ea"/>
          <a:cs typeface="+mn-cs"/>
        </a:defRPr>
      </a:lvl8pPr>
      <a:lvl9pPr marL="996973" indent="-169486" algn="l" defTabSz="844104" rtl="0" eaLnBrk="1" latinLnBrk="0" hangingPunct="1">
        <a:lnSpc>
          <a:spcPct val="100000"/>
        </a:lnSpc>
        <a:spcBef>
          <a:spcPts val="0"/>
        </a:spcBef>
        <a:spcAft>
          <a:spcPts val="738"/>
        </a:spcAft>
        <a:buClr>
          <a:schemeClr val="bg2"/>
        </a:buClr>
        <a:buSzPct val="80000"/>
        <a:buFont typeface="Wingdings" panose="05000000000000000000" pitchFamily="2" charset="2"/>
        <a:buChar char="§"/>
        <a:defRPr sz="1015" kern="1200">
          <a:solidFill>
            <a:schemeClr val="tx1"/>
          </a:solidFill>
          <a:latin typeface="+mn-lt"/>
          <a:ea typeface="+mn-ea"/>
          <a:cs typeface="+mn-cs"/>
        </a:defRPr>
      </a:lvl9pPr>
    </p:bodyStyle>
    <p:otherStyle>
      <a:defPPr>
        <a:defRPr lang="en-US"/>
      </a:defPPr>
      <a:lvl1pPr marL="0" algn="l" defTabSz="844104" rtl="0" eaLnBrk="1" latinLnBrk="0" hangingPunct="1">
        <a:defRPr sz="1662" kern="1200">
          <a:solidFill>
            <a:schemeClr val="tx1"/>
          </a:solidFill>
          <a:latin typeface="+mn-lt"/>
          <a:ea typeface="+mn-ea"/>
          <a:cs typeface="+mn-cs"/>
        </a:defRPr>
      </a:lvl1pPr>
      <a:lvl2pPr marL="422052" algn="l" defTabSz="844104" rtl="0" eaLnBrk="1" latinLnBrk="0" hangingPunct="1">
        <a:defRPr sz="1662" kern="1200">
          <a:solidFill>
            <a:schemeClr val="tx1"/>
          </a:solidFill>
          <a:latin typeface="+mn-lt"/>
          <a:ea typeface="+mn-ea"/>
          <a:cs typeface="+mn-cs"/>
        </a:defRPr>
      </a:lvl2pPr>
      <a:lvl3pPr marL="844104" algn="l" defTabSz="844104" rtl="0" eaLnBrk="1" latinLnBrk="0" hangingPunct="1">
        <a:defRPr sz="1662" kern="1200">
          <a:solidFill>
            <a:schemeClr val="tx1"/>
          </a:solidFill>
          <a:latin typeface="+mn-lt"/>
          <a:ea typeface="+mn-ea"/>
          <a:cs typeface="+mn-cs"/>
        </a:defRPr>
      </a:lvl3pPr>
      <a:lvl4pPr marL="1266155" algn="l" defTabSz="844104" rtl="0" eaLnBrk="1" latinLnBrk="0" hangingPunct="1">
        <a:defRPr sz="1662" kern="1200">
          <a:solidFill>
            <a:schemeClr val="tx1"/>
          </a:solidFill>
          <a:latin typeface="+mn-lt"/>
          <a:ea typeface="+mn-ea"/>
          <a:cs typeface="+mn-cs"/>
        </a:defRPr>
      </a:lvl4pPr>
      <a:lvl5pPr marL="1688208" algn="l" defTabSz="844104" rtl="0" eaLnBrk="1" latinLnBrk="0" hangingPunct="1">
        <a:defRPr sz="1662" kern="1200">
          <a:solidFill>
            <a:schemeClr val="tx1"/>
          </a:solidFill>
          <a:latin typeface="+mn-lt"/>
          <a:ea typeface="+mn-ea"/>
          <a:cs typeface="+mn-cs"/>
        </a:defRPr>
      </a:lvl5pPr>
      <a:lvl6pPr marL="2110259" algn="l" defTabSz="844104" rtl="0" eaLnBrk="1" latinLnBrk="0" hangingPunct="1">
        <a:defRPr sz="1662" kern="1200">
          <a:solidFill>
            <a:schemeClr val="tx1"/>
          </a:solidFill>
          <a:latin typeface="+mn-lt"/>
          <a:ea typeface="+mn-ea"/>
          <a:cs typeface="+mn-cs"/>
        </a:defRPr>
      </a:lvl6pPr>
      <a:lvl7pPr marL="2532312" algn="l" defTabSz="844104" rtl="0" eaLnBrk="1" latinLnBrk="0" hangingPunct="1">
        <a:defRPr sz="1662" kern="1200">
          <a:solidFill>
            <a:schemeClr val="tx1"/>
          </a:solidFill>
          <a:latin typeface="+mn-lt"/>
          <a:ea typeface="+mn-ea"/>
          <a:cs typeface="+mn-cs"/>
        </a:defRPr>
      </a:lvl7pPr>
      <a:lvl8pPr marL="2954363" algn="l" defTabSz="844104" rtl="0" eaLnBrk="1" latinLnBrk="0" hangingPunct="1">
        <a:defRPr sz="1662" kern="1200">
          <a:solidFill>
            <a:schemeClr val="tx1"/>
          </a:solidFill>
          <a:latin typeface="+mn-lt"/>
          <a:ea typeface="+mn-ea"/>
          <a:cs typeface="+mn-cs"/>
        </a:defRPr>
      </a:lvl8pPr>
      <a:lvl9pPr marL="3376415" algn="l" defTabSz="844104" rtl="0" eaLnBrk="1" latinLnBrk="0" hangingPunct="1">
        <a:defRPr sz="1662"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pos="463">
          <p15:clr>
            <a:srgbClr val="F26B43"/>
          </p15:clr>
        </p15:guide>
        <p15:guide id="2" pos="7217">
          <p15:clr>
            <a:srgbClr val="F26B43"/>
          </p15:clr>
        </p15:guide>
        <p15:guide id="3" pos="239">
          <p15:clr>
            <a:srgbClr val="F26B43"/>
          </p15:clr>
        </p15:guide>
        <p15:guide id="4" pos="7441">
          <p15:clr>
            <a:srgbClr val="F26B43"/>
          </p15:clr>
        </p15:guide>
        <p15:guide id="5" orient="horz" pos="187">
          <p15:clr>
            <a:srgbClr val="F26B43"/>
          </p15:clr>
        </p15:guide>
        <p15:guide id="7" orient="horz" pos="368">
          <p15:clr>
            <a:srgbClr val="F26B43"/>
          </p15:clr>
        </p15:guide>
        <p15:guide id="10" orient="horz" pos="3884">
          <p15:clr>
            <a:srgbClr val="F26B43"/>
          </p15:clr>
        </p15:guide>
        <p15:guide id="11" orient="horz" pos="1243">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48.svg"/><Relationship Id="rId3" Type="http://schemas.openxmlformats.org/officeDocument/2006/relationships/image" Target="../media/image37.svg"/><Relationship Id="rId7" Type="http://schemas.openxmlformats.org/officeDocument/2006/relationships/image" Target="../media/image42.svg"/><Relationship Id="rId12" Type="http://schemas.openxmlformats.org/officeDocument/2006/relationships/image" Target="../media/image18.png"/><Relationship Id="rId2" Type="http://schemas.openxmlformats.org/officeDocument/2006/relationships/image" Target="../media/image13.png"/><Relationship Id="rId1" Type="http://schemas.openxmlformats.org/officeDocument/2006/relationships/slideLayout" Target="../slideLayouts/slideLayout12.xml"/><Relationship Id="rId6" Type="http://schemas.openxmlformats.org/officeDocument/2006/relationships/image" Target="../media/image15.png"/><Relationship Id="rId11" Type="http://schemas.openxmlformats.org/officeDocument/2006/relationships/image" Target="../media/image46.svg"/><Relationship Id="rId5" Type="http://schemas.openxmlformats.org/officeDocument/2006/relationships/image" Target="../media/image40.svg"/><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image" Target="../media/image44.svg"/><Relationship Id="rId14" Type="http://schemas.openxmlformats.org/officeDocument/2006/relationships/image" Target="../media/image19.png"/></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image" Target="../media/image21.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3.xml"/><Relationship Id="rId1" Type="http://schemas.openxmlformats.org/officeDocument/2006/relationships/tags" Target="../tags/tag4.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3.xml"/><Relationship Id="rId1" Type="http://schemas.openxmlformats.org/officeDocument/2006/relationships/tags" Target="../tags/tag5.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6.xml"/><Relationship Id="rId4" Type="http://schemas.openxmlformats.org/officeDocument/2006/relationships/chart" Target="../charts/char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hyperlink" Target="mailto:ourcambridge@admin.cam.ac.uk" TargetMode="External"/><Relationship Id="rId2" Type="http://schemas.openxmlformats.org/officeDocument/2006/relationships/notesSlide" Target="../notesSlides/notesSlide16.xml"/><Relationship Id="rId1" Type="http://schemas.openxmlformats.org/officeDocument/2006/relationships/slideLayout" Target="../slideLayouts/slideLayout4.xml"/><Relationship Id="rId5" Type="http://schemas.openxmlformats.org/officeDocument/2006/relationships/image" Target="../media/image24.png"/><Relationship Id="rId4" Type="http://schemas.openxmlformats.org/officeDocument/2006/relationships/hyperlink" Target="https://www.ourcambridge.admin.cam.ac.uk/submit-idea" TargetMode="Externa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www.insurance.admin.cam.ac.uk/" TargetMode="External"/><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8.jpg"/></Relationships>
</file>

<file path=ppt/slides/_rels/slide30.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26.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27.xml"/><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hyperlink" Target="https://ufs.admin.cam.ac.uk/"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hyperlink" Target="https://ufs.admin.cam.ac.uk/" TargetMode="External"/></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1.xml"/><Relationship Id="rId1" Type="http://schemas.openxmlformats.org/officeDocument/2006/relationships/slideLayout" Target="../slideLayouts/slideLayout4.xml"/><Relationship Id="rId4" Type="http://schemas.openxmlformats.org/officeDocument/2006/relationships/hyperlink" Target="https://www.finance.admin.cam.ac.uk/" TargetMode="External"/></Relationships>
</file>

<file path=ppt/slides/_rels/slide39.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32.xml"/><Relationship Id="rId1" Type="http://schemas.openxmlformats.org/officeDocument/2006/relationships/slideLayout" Target="../slideLayouts/slideLayout4.xml"/><Relationship Id="rId4" Type="http://schemas.openxmlformats.org/officeDocument/2006/relationships/hyperlink" Target="https://www.insurance.admin.cam.ac.uk/"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hyperlink" Target="https://www.universitiesuk.ac.uk/facts-and-stats/Documents/university-spending-explained-summary.pdf" TargetMode="Externa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admin.cam.ac.uk/offices/purchasing/" TargetMode="External"/><Relationship Id="rId2" Type="http://schemas.openxmlformats.org/officeDocument/2006/relationships/notesSlide" Target="../notesSlides/notesSlide33.xml"/><Relationship Id="rId1" Type="http://schemas.openxmlformats.org/officeDocument/2006/relationships/slideLayout" Target="../slideLayouts/slideLayout4.xml"/><Relationship Id="rId4" Type="http://schemas.openxmlformats.org/officeDocument/2006/relationships/image" Target="../media/image37.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5.xml"/></Relationships>
</file>

<file path=ppt/slides/_rels/slide42.xml.rels><?xml version="1.0" encoding="UTF-8" standalone="yes"?>
<Relationships xmlns="http://schemas.openxmlformats.org/package/2006/relationships"><Relationship Id="rId2" Type="http://schemas.openxmlformats.org/officeDocument/2006/relationships/image" Target="../media/image38.jpe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image" Target="../media/image41.jp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44.png"/><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p:cNvSpPr>
            <a:spLocks noGrp="1" noChangeArrowheads="1"/>
          </p:cNvSpPr>
          <p:nvPr>
            <p:ph type="ctrTitle"/>
          </p:nvPr>
        </p:nvSpPr>
        <p:spPr>
          <a:xfrm>
            <a:off x="384175" y="2016125"/>
            <a:ext cx="8374063" cy="2132955"/>
          </a:xfrm>
        </p:spPr>
        <p:txBody>
          <a:bodyPr/>
          <a:lstStyle/>
          <a:p>
            <a:pPr eaLnBrk="1" hangingPunct="1"/>
            <a:r>
              <a:rPr lang="en-US" altLang="en-US" dirty="0" smtClean="0"/>
              <a:t>Financial Users Group</a:t>
            </a:r>
            <a:br>
              <a:rPr lang="en-US" altLang="en-US" dirty="0" smtClean="0"/>
            </a:br>
            <a:r>
              <a:rPr lang="en-US" altLang="en-US" dirty="0"/>
              <a:t/>
            </a:r>
            <a:br>
              <a:rPr lang="en-US" altLang="en-US" dirty="0"/>
            </a:br>
            <a:r>
              <a:rPr lang="en-US" altLang="en-US" dirty="0" smtClean="0"/>
              <a:t>24 January 2020</a:t>
            </a:r>
            <a:br>
              <a:rPr lang="en-US" altLang="en-US" dirty="0" smtClean="0"/>
            </a:br>
            <a:endParaRPr lang="en-US" altLang="en-US" dirty="0" smtClean="0"/>
          </a:p>
        </p:txBody>
      </p:sp>
    </p:spTree>
    <p:extLst>
      <p:ext uri="{BB962C8B-B14F-4D97-AF65-F5344CB8AC3E}">
        <p14:creationId xmlns:p14="http://schemas.microsoft.com/office/powerpoint/2010/main" val="26427380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ED562C43-0CEA-40E2-A8C0-87125FB286AA}"/>
              </a:ext>
            </a:extLst>
          </p:cNvPr>
          <p:cNvSpPr>
            <a:spLocks noGrp="1"/>
          </p:cNvSpPr>
          <p:nvPr>
            <p:ph type="body" sz="quarter" idx="13"/>
          </p:nvPr>
        </p:nvSpPr>
        <p:spPr>
          <a:xfrm>
            <a:off x="561709" y="1308576"/>
            <a:ext cx="8038523" cy="718063"/>
          </a:xfrm>
        </p:spPr>
        <p:txBody>
          <a:bodyPr/>
          <a:lstStyle/>
          <a:p>
            <a:pPr lvl="0"/>
            <a:r>
              <a:rPr lang="en-GB" sz="1292" b="0" dirty="0" smtClean="0">
                <a:solidFill>
                  <a:srgbClr val="0C2126"/>
                </a:solidFill>
              </a:rPr>
              <a:t>A </a:t>
            </a:r>
            <a:r>
              <a:rPr lang="en-GB" sz="1292" b="0" dirty="0">
                <a:solidFill>
                  <a:srgbClr val="0C2126"/>
                </a:solidFill>
              </a:rPr>
              <a:t>range of stakeholder engagement events were organised to collect comprehensive feedback and identify major challenges, pain points and risks across the University within Finance</a:t>
            </a:r>
          </a:p>
          <a:p>
            <a:pPr lvl="0"/>
            <a:endParaRPr lang="en-GB" sz="1292" dirty="0">
              <a:solidFill>
                <a:srgbClr val="3876BE"/>
              </a:solidFill>
            </a:endParaRPr>
          </a:p>
          <a:p>
            <a:endParaRPr lang="en-GB" dirty="0"/>
          </a:p>
        </p:txBody>
      </p:sp>
      <p:graphicFrame>
        <p:nvGraphicFramePr>
          <p:cNvPr id="4" name="Table 3">
            <a:extLst>
              <a:ext uri="{FF2B5EF4-FFF2-40B4-BE49-F238E27FC236}">
                <a16:creationId xmlns:a16="http://schemas.microsoft.com/office/drawing/2014/main" id="{4A80D1F3-C3DA-4069-BE77-027A284D90BD}"/>
              </a:ext>
            </a:extLst>
          </p:cNvPr>
          <p:cNvGraphicFramePr>
            <a:graphicFrameLocks noGrp="1"/>
          </p:cNvGraphicFramePr>
          <p:nvPr>
            <p:extLst>
              <p:ext uri="{D42A27DB-BD31-4B8C-83A1-F6EECF244321}">
                <p14:modId xmlns:p14="http://schemas.microsoft.com/office/powerpoint/2010/main" val="1010905881"/>
              </p:ext>
            </p:extLst>
          </p:nvPr>
        </p:nvGraphicFramePr>
        <p:xfrm>
          <a:off x="561709" y="1728338"/>
          <a:ext cx="2643337" cy="4316394"/>
        </p:xfrm>
        <a:graphic>
          <a:graphicData uri="http://schemas.openxmlformats.org/drawingml/2006/table">
            <a:tbl>
              <a:tblPr firstRow="1" firstCol="1" bandRow="1">
                <a:tableStyleId>{5C22544A-7EE6-4342-B048-85BDC9FD1C3A}</a:tableStyleId>
              </a:tblPr>
              <a:tblGrid>
                <a:gridCol w="505781">
                  <a:extLst>
                    <a:ext uri="{9D8B030D-6E8A-4147-A177-3AD203B41FA5}">
                      <a16:colId xmlns:a16="http://schemas.microsoft.com/office/drawing/2014/main" val="1406147897"/>
                    </a:ext>
                  </a:extLst>
                </a:gridCol>
                <a:gridCol w="2137556">
                  <a:extLst>
                    <a:ext uri="{9D8B030D-6E8A-4147-A177-3AD203B41FA5}">
                      <a16:colId xmlns:a16="http://schemas.microsoft.com/office/drawing/2014/main" val="1309822721"/>
                    </a:ext>
                  </a:extLst>
                </a:gridCol>
              </a:tblGrid>
              <a:tr h="289968">
                <a:tc gridSpan="2">
                  <a:txBody>
                    <a:bodyPr/>
                    <a:lstStyle/>
                    <a:p>
                      <a:r>
                        <a:rPr lang="en-GB" sz="1300" cap="all" spc="100" baseline="0" dirty="0">
                          <a:solidFill>
                            <a:schemeClr val="tx1"/>
                          </a:solidFill>
                        </a:rPr>
                        <a:t>Engagement types</a:t>
                      </a:r>
                    </a:p>
                  </a:txBody>
                  <a:tcPr marL="0" marR="0" marT="0" marB="66462">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57150" cap="flat" cmpd="sng" algn="ctr">
                      <a:solidFill>
                        <a:schemeClr val="tx1"/>
                      </a:solidFill>
                      <a:prstDash val="solid"/>
                      <a:round/>
                      <a:headEnd type="none" w="med" len="med"/>
                      <a:tailEnd type="none" w="med" len="med"/>
                    </a:lnB>
                    <a:solidFill>
                      <a:srgbClr val="F5F8FA"/>
                    </a:solidFill>
                  </a:tcPr>
                </a:tc>
                <a:tc hMerge="1">
                  <a:txBody>
                    <a:bodyPr/>
                    <a:lstStyle/>
                    <a:p>
                      <a:endParaRPr lang="en-GB"/>
                    </a:p>
                  </a:txBody>
                  <a:tcPr/>
                </a:tc>
                <a:extLst>
                  <a:ext uri="{0D108BD9-81ED-4DB2-BD59-A6C34878D82A}">
                    <a16:rowId xmlns:a16="http://schemas.microsoft.com/office/drawing/2014/main" val="2654309768"/>
                  </a:ext>
                </a:extLst>
              </a:tr>
              <a:tr h="671071">
                <a:tc>
                  <a:txBody>
                    <a:bodyPr/>
                    <a:lstStyle/>
                    <a:p>
                      <a:endParaRPr lang="en-GB" sz="1300"/>
                    </a:p>
                  </a:txBody>
                  <a:tcPr marL="84406" marR="84406" marT="42203" marB="42203">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tc>
                  <a:txBody>
                    <a:bodyPr/>
                    <a:lstStyle/>
                    <a:p>
                      <a:r>
                        <a:rPr lang="en-GB" sz="1500" b="1">
                          <a:solidFill>
                            <a:schemeClr val="bg2"/>
                          </a:solidFill>
                        </a:rPr>
                        <a:t>308</a:t>
                      </a:r>
                      <a:r>
                        <a:rPr lang="en-GB" sz="1500"/>
                        <a:t> attendees</a:t>
                      </a:r>
                      <a:br>
                        <a:rPr lang="en-GB" sz="1500"/>
                      </a:br>
                      <a:r>
                        <a:rPr lang="en-GB" sz="1500"/>
                        <a:t>across all events</a:t>
                      </a:r>
                    </a:p>
                  </a:txBody>
                  <a:tcPr marL="84406" marR="0"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571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extLst>
                  <a:ext uri="{0D108BD9-81ED-4DB2-BD59-A6C34878D82A}">
                    <a16:rowId xmlns:a16="http://schemas.microsoft.com/office/drawing/2014/main" val="260551589"/>
                  </a:ext>
                </a:extLst>
              </a:tr>
              <a:tr h="671071">
                <a:tc>
                  <a:txBody>
                    <a:bodyPr/>
                    <a:lstStyle/>
                    <a:p>
                      <a:endParaRPr lang="en-GB" sz="1300"/>
                    </a:p>
                  </a:txBody>
                  <a:tcPr marL="84406" marR="84406"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tc>
                  <a:txBody>
                    <a:bodyPr/>
                    <a:lstStyle/>
                    <a:p>
                      <a:r>
                        <a:rPr lang="en-GB" sz="1500" b="1" kern="1200" dirty="0">
                          <a:solidFill>
                            <a:schemeClr val="bg2"/>
                          </a:solidFill>
                          <a:latin typeface="+mn-lt"/>
                          <a:ea typeface="+mn-ea"/>
                          <a:cs typeface="+mn-cs"/>
                        </a:rPr>
                        <a:t>5 </a:t>
                      </a:r>
                      <a:r>
                        <a:rPr lang="en-GB" sz="1500" kern="1200" dirty="0">
                          <a:solidFill>
                            <a:schemeClr val="dk1"/>
                          </a:solidFill>
                          <a:latin typeface="+mn-lt"/>
                          <a:ea typeface="+mn-ea"/>
                          <a:cs typeface="+mn-cs"/>
                        </a:rPr>
                        <a:t>world café events</a:t>
                      </a:r>
                      <a:br>
                        <a:rPr lang="en-GB" sz="1500" kern="1200" dirty="0">
                          <a:solidFill>
                            <a:schemeClr val="dk1"/>
                          </a:solidFill>
                          <a:latin typeface="+mn-lt"/>
                          <a:ea typeface="+mn-ea"/>
                          <a:cs typeface="+mn-cs"/>
                        </a:rPr>
                      </a:br>
                      <a:r>
                        <a:rPr lang="en-GB" sz="1500" kern="1200" dirty="0">
                          <a:solidFill>
                            <a:schemeClr val="dk1"/>
                          </a:solidFill>
                          <a:latin typeface="+mn-lt"/>
                          <a:ea typeface="+mn-ea"/>
                          <a:cs typeface="+mn-cs"/>
                        </a:rPr>
                        <a:t>with </a:t>
                      </a:r>
                      <a:r>
                        <a:rPr lang="en-GB" sz="1500" b="1" dirty="0">
                          <a:solidFill>
                            <a:schemeClr val="bg2"/>
                          </a:solidFill>
                        </a:rPr>
                        <a:t>125 </a:t>
                      </a:r>
                      <a:r>
                        <a:rPr lang="en-GB" sz="1500" kern="1200" dirty="0">
                          <a:solidFill>
                            <a:schemeClr val="dk1"/>
                          </a:solidFill>
                          <a:latin typeface="+mn-lt"/>
                          <a:ea typeface="+mn-ea"/>
                          <a:cs typeface="+mn-cs"/>
                        </a:rPr>
                        <a:t>attendees</a:t>
                      </a:r>
                    </a:p>
                  </a:txBody>
                  <a:tcPr marL="84406" marR="0"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extLst>
                  <a:ext uri="{0D108BD9-81ED-4DB2-BD59-A6C34878D82A}">
                    <a16:rowId xmlns:a16="http://schemas.microsoft.com/office/drawing/2014/main" val="612358395"/>
                  </a:ext>
                </a:extLst>
              </a:tr>
              <a:tr h="671071">
                <a:tc>
                  <a:txBody>
                    <a:bodyPr/>
                    <a:lstStyle/>
                    <a:p>
                      <a:endParaRPr lang="en-GB" sz="1300"/>
                    </a:p>
                  </a:txBody>
                  <a:tcPr marL="84406" marR="84406" marT="42203" marB="4220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tc>
                  <a:txBody>
                    <a:bodyPr/>
                    <a:lstStyle/>
                    <a:p>
                      <a:r>
                        <a:rPr lang="en-GB" sz="1500" b="1" kern="1200">
                          <a:solidFill>
                            <a:schemeClr val="bg2"/>
                          </a:solidFill>
                          <a:latin typeface="+mn-lt"/>
                          <a:ea typeface="+mn-ea"/>
                          <a:cs typeface="+mn-cs"/>
                        </a:rPr>
                        <a:t>30 </a:t>
                      </a:r>
                      <a:r>
                        <a:rPr lang="en-GB" sz="1500"/>
                        <a:t>process workshops attended by </a:t>
                      </a:r>
                      <a:r>
                        <a:rPr lang="en-GB" sz="1500" b="1" kern="1200">
                          <a:solidFill>
                            <a:schemeClr val="bg2"/>
                          </a:solidFill>
                          <a:latin typeface="+mn-lt"/>
                          <a:ea typeface="+mn-ea"/>
                          <a:cs typeface="+mn-cs"/>
                        </a:rPr>
                        <a:t>133</a:t>
                      </a:r>
                      <a:r>
                        <a:rPr lang="en-GB" sz="1500"/>
                        <a:t> people</a:t>
                      </a:r>
                    </a:p>
                  </a:txBody>
                  <a:tcPr marL="84406" marR="0"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extLst>
                  <a:ext uri="{0D108BD9-81ED-4DB2-BD59-A6C34878D82A}">
                    <a16:rowId xmlns:a16="http://schemas.microsoft.com/office/drawing/2014/main" val="1446606962"/>
                  </a:ext>
                </a:extLst>
              </a:tr>
              <a:tr h="671071">
                <a:tc>
                  <a:txBody>
                    <a:bodyPr/>
                    <a:lstStyle/>
                    <a:p>
                      <a:endParaRPr lang="en-GB" sz="1300"/>
                    </a:p>
                  </a:txBody>
                  <a:tcPr marL="84406" marR="84406"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1" kern="1200">
                          <a:solidFill>
                            <a:schemeClr val="bg2"/>
                          </a:solidFill>
                          <a:latin typeface="+mn-lt"/>
                          <a:ea typeface="+mn-ea"/>
                          <a:cs typeface="+mn-cs"/>
                        </a:rPr>
                        <a:t>43 </a:t>
                      </a:r>
                      <a:r>
                        <a:rPr lang="en-GB" sz="1500" kern="1200">
                          <a:solidFill>
                            <a:schemeClr val="dk1"/>
                          </a:solidFill>
                          <a:latin typeface="+mn-lt"/>
                          <a:ea typeface="+mn-ea"/>
                          <a:cs typeface="+mn-cs"/>
                        </a:rPr>
                        <a:t>face-to-face interviews </a:t>
                      </a:r>
                    </a:p>
                  </a:txBody>
                  <a:tcPr marL="84406" marR="0"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extLst>
                  <a:ext uri="{0D108BD9-81ED-4DB2-BD59-A6C34878D82A}">
                    <a16:rowId xmlns:a16="http://schemas.microsoft.com/office/drawing/2014/main" val="3747967618"/>
                  </a:ext>
                </a:extLst>
              </a:tr>
              <a:tr h="671071">
                <a:tc>
                  <a:txBody>
                    <a:bodyPr/>
                    <a:lstStyle/>
                    <a:p>
                      <a:endParaRPr lang="en-GB" sz="1500"/>
                    </a:p>
                  </a:txBody>
                  <a:tcPr marL="84406" marR="84406" marT="42203" marB="42203">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1" kern="1200" dirty="0">
                          <a:solidFill>
                            <a:schemeClr val="bg2"/>
                          </a:solidFill>
                          <a:latin typeface="+mn-lt"/>
                          <a:ea typeface="+mn-ea"/>
                          <a:cs typeface="+mn-cs"/>
                        </a:rPr>
                        <a:t>2 </a:t>
                      </a:r>
                      <a:r>
                        <a:rPr lang="en-GB" sz="1500" kern="1200" dirty="0">
                          <a:solidFill>
                            <a:schemeClr val="dk1"/>
                          </a:solidFill>
                          <a:latin typeface="+mn-lt"/>
                          <a:ea typeface="+mn-ea"/>
                          <a:cs typeface="+mn-cs"/>
                        </a:rPr>
                        <a:t>senior management team workshops</a:t>
                      </a:r>
                    </a:p>
                  </a:txBody>
                  <a:tcPr marL="84406" marR="0" marT="42203" marB="42203"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5F8FA"/>
                    </a:solidFill>
                  </a:tcPr>
                </a:tc>
                <a:extLst>
                  <a:ext uri="{0D108BD9-81ED-4DB2-BD59-A6C34878D82A}">
                    <a16:rowId xmlns:a16="http://schemas.microsoft.com/office/drawing/2014/main" val="714613190"/>
                  </a:ext>
                </a:extLst>
              </a:tr>
              <a:tr h="671071">
                <a:tc>
                  <a:txBody>
                    <a:bodyPr/>
                    <a:lstStyle/>
                    <a:p>
                      <a:endParaRPr lang="en-GB" sz="1500"/>
                    </a:p>
                  </a:txBody>
                  <a:tcPr marL="84406" marR="84406"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F5F8FA"/>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b="1" dirty="0">
                          <a:solidFill>
                            <a:schemeClr val="bg2"/>
                          </a:solidFill>
                        </a:rPr>
                        <a:t>1161 </a:t>
                      </a:r>
                      <a:r>
                        <a:rPr lang="en-GB" sz="1500" dirty="0"/>
                        <a:t>survey responses across </a:t>
                      </a:r>
                      <a:r>
                        <a:rPr lang="en-GB" sz="1500" b="1" kern="1200" dirty="0">
                          <a:solidFill>
                            <a:schemeClr val="bg2"/>
                          </a:solidFill>
                          <a:latin typeface="+mn-lt"/>
                          <a:ea typeface="+mn-ea"/>
                          <a:cs typeface="+mn-cs"/>
                        </a:rPr>
                        <a:t>94</a:t>
                      </a:r>
                      <a:r>
                        <a:rPr lang="en-GB" sz="1500" dirty="0"/>
                        <a:t> departments</a:t>
                      </a:r>
                    </a:p>
                  </a:txBody>
                  <a:tcPr marL="84406" marR="0" marT="42203" marB="42203" anchor="ctr">
                    <a:lnL w="12700" cap="flat" cmpd="sng" algn="ctr">
                      <a:noFill/>
                      <a:prstDash val="solid"/>
                      <a:round/>
                      <a:headEnd type="none" w="med" len="med"/>
                      <a:tailEnd type="none" w="med" len="med"/>
                    </a:lnL>
                    <a:lnR w="12700" cmpd="sng">
                      <a:noFill/>
                    </a:lnR>
                    <a:lnT w="12700"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solidFill>
                      <a:srgbClr val="F5F8FA"/>
                    </a:solidFill>
                  </a:tcPr>
                </a:tc>
                <a:extLst>
                  <a:ext uri="{0D108BD9-81ED-4DB2-BD59-A6C34878D82A}">
                    <a16:rowId xmlns:a16="http://schemas.microsoft.com/office/drawing/2014/main" val="434334867"/>
                  </a:ext>
                </a:extLst>
              </a:tr>
            </a:tbl>
          </a:graphicData>
        </a:graphic>
      </p:graphicFrame>
      <p:pic>
        <p:nvPicPr>
          <p:cNvPr id="5" name="Graphic 4" descr="Meeting">
            <a:extLst>
              <a:ext uri="{FF2B5EF4-FFF2-40B4-BE49-F238E27FC236}">
                <a16:creationId xmlns:a16="http://schemas.microsoft.com/office/drawing/2014/main" id="{0C8A1C71-ED72-4175-9F69-E513AD9A54FC}"/>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 xmlns:asvg="http://schemas.microsoft.com/office/drawing/2016/SVG/main" r:embed="rId3"/>
              </a:ext>
            </a:extLst>
          </a:blip>
          <a:stretch>
            <a:fillRect/>
          </a:stretch>
        </p:blipFill>
        <p:spPr>
          <a:xfrm>
            <a:off x="561709" y="2049016"/>
            <a:ext cx="498462" cy="498462"/>
          </a:xfrm>
          <a:prstGeom prst="rect">
            <a:avLst/>
          </a:prstGeom>
        </p:spPr>
      </p:pic>
      <p:pic>
        <p:nvPicPr>
          <p:cNvPr id="6" name="Graphic 5" descr="Clipboard">
            <a:extLst>
              <a:ext uri="{FF2B5EF4-FFF2-40B4-BE49-F238E27FC236}">
                <a16:creationId xmlns:a16="http://schemas.microsoft.com/office/drawing/2014/main" id="{E0083D42-2EEA-468D-9C19-9FA650EC9E47}"/>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 xmlns:asvg="http://schemas.microsoft.com/office/drawing/2016/SVG/main" r:embed="rId5"/>
              </a:ext>
            </a:extLst>
          </a:blip>
          <a:stretch>
            <a:fillRect/>
          </a:stretch>
        </p:blipFill>
        <p:spPr>
          <a:xfrm>
            <a:off x="561709" y="5397518"/>
            <a:ext cx="498462" cy="498462"/>
          </a:xfrm>
          <a:prstGeom prst="rect">
            <a:avLst/>
          </a:prstGeom>
        </p:spPr>
      </p:pic>
      <p:pic>
        <p:nvPicPr>
          <p:cNvPr id="8" name="Graphic 7" descr="Workflow">
            <a:extLst>
              <a:ext uri="{FF2B5EF4-FFF2-40B4-BE49-F238E27FC236}">
                <a16:creationId xmlns:a16="http://schemas.microsoft.com/office/drawing/2014/main" id="{C648AF7B-67B8-4C18-9FCD-275EB303CB47}"/>
              </a:ext>
            </a:extLst>
          </p:cNvPr>
          <p:cNvPicPr>
            <a:picLocks noChangeAspect="1"/>
          </p:cNvPicPr>
          <p:nvPr/>
        </p:nvPicPr>
        <p:blipFill>
          <a:blip r:embed="rId6">
            <a:extLst>
              <a:ext uri="{28A0092B-C50C-407E-A947-70E740481C1C}">
                <a14:useLocalDpi xmlns:a14="http://schemas.microsoft.com/office/drawing/2010/main"/>
              </a:ext>
              <a:ext uri="{96DAC541-7B7A-43D3-8B79-37D633B846F1}">
                <asvg:svgBlip xmlns="" xmlns:asvg="http://schemas.microsoft.com/office/drawing/2016/SVG/main" r:embed="rId7"/>
              </a:ext>
            </a:extLst>
          </a:blip>
          <a:stretch>
            <a:fillRect/>
          </a:stretch>
        </p:blipFill>
        <p:spPr>
          <a:xfrm>
            <a:off x="561709" y="3391830"/>
            <a:ext cx="498462" cy="498462"/>
          </a:xfrm>
          <a:prstGeom prst="rect">
            <a:avLst/>
          </a:prstGeom>
        </p:spPr>
      </p:pic>
      <p:pic>
        <p:nvPicPr>
          <p:cNvPr id="9" name="Graphic 8" descr="World">
            <a:extLst>
              <a:ext uri="{FF2B5EF4-FFF2-40B4-BE49-F238E27FC236}">
                <a16:creationId xmlns:a16="http://schemas.microsoft.com/office/drawing/2014/main" id="{7020B884-733E-4C8D-AA79-C5888769E04E}"/>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 xmlns:asvg="http://schemas.microsoft.com/office/drawing/2016/SVG/main" r:embed="rId9"/>
              </a:ext>
            </a:extLst>
          </a:blip>
          <a:stretch>
            <a:fillRect/>
          </a:stretch>
        </p:blipFill>
        <p:spPr>
          <a:xfrm>
            <a:off x="561709" y="2708882"/>
            <a:ext cx="498462" cy="498462"/>
          </a:xfrm>
          <a:prstGeom prst="rect">
            <a:avLst/>
          </a:prstGeom>
        </p:spPr>
      </p:pic>
      <p:pic>
        <p:nvPicPr>
          <p:cNvPr id="10" name="Graphic 9" descr="Boardroom">
            <a:extLst>
              <a:ext uri="{FF2B5EF4-FFF2-40B4-BE49-F238E27FC236}">
                <a16:creationId xmlns:a16="http://schemas.microsoft.com/office/drawing/2014/main" id="{63911D14-A68E-4084-B085-AB3169B375C0}"/>
              </a:ext>
            </a:extLst>
          </p:cNvPr>
          <p:cNvPicPr>
            <a:picLocks noChangeAspect="1"/>
          </p:cNvPicPr>
          <p:nvPr/>
        </p:nvPicPr>
        <p:blipFill>
          <a:blip r:embed="rId10">
            <a:extLst>
              <a:ext uri="{28A0092B-C50C-407E-A947-70E740481C1C}">
                <a14:useLocalDpi xmlns:a14="http://schemas.microsoft.com/office/drawing/2010/main"/>
              </a:ext>
              <a:ext uri="{96DAC541-7B7A-43D3-8B79-37D633B846F1}">
                <asvg:svgBlip xmlns="" xmlns:asvg="http://schemas.microsoft.com/office/drawing/2016/SVG/main" r:embed="rId11"/>
              </a:ext>
            </a:extLst>
          </a:blip>
          <a:stretch>
            <a:fillRect/>
          </a:stretch>
        </p:blipFill>
        <p:spPr>
          <a:xfrm>
            <a:off x="561709" y="4050057"/>
            <a:ext cx="498462" cy="498462"/>
          </a:xfrm>
          <a:prstGeom prst="rect">
            <a:avLst/>
          </a:prstGeom>
        </p:spPr>
      </p:pic>
      <p:pic>
        <p:nvPicPr>
          <p:cNvPr id="11" name="Graphic 10">
            <a:extLst>
              <a:ext uri="{FF2B5EF4-FFF2-40B4-BE49-F238E27FC236}">
                <a16:creationId xmlns:a16="http://schemas.microsoft.com/office/drawing/2014/main" id="{A9EC9B05-1107-4216-989C-F24A1BF9FB15}"/>
              </a:ext>
            </a:extLst>
          </p:cNvPr>
          <p:cNvPicPr>
            <a:picLocks noChangeAspect="1"/>
          </p:cNvPicPr>
          <p:nvPr/>
        </p:nvPicPr>
        <p:blipFill>
          <a:blip r:embed="rId12">
            <a:extLst>
              <a:ext uri="{28A0092B-C50C-407E-A947-70E740481C1C}">
                <a14:useLocalDpi xmlns:a14="http://schemas.microsoft.com/office/drawing/2010/main"/>
              </a:ext>
              <a:ext uri="{96DAC541-7B7A-43D3-8B79-37D633B846F1}">
                <asvg:svgBlip xmlns="" xmlns:asvg="http://schemas.microsoft.com/office/drawing/2016/SVG/main" r:embed="rId13"/>
              </a:ext>
            </a:extLst>
          </a:blip>
          <a:stretch>
            <a:fillRect/>
          </a:stretch>
        </p:blipFill>
        <p:spPr>
          <a:xfrm>
            <a:off x="561709" y="4726576"/>
            <a:ext cx="498462" cy="498462"/>
          </a:xfrm>
          <a:prstGeom prst="rect">
            <a:avLst/>
          </a:prstGeom>
        </p:spPr>
      </p:pic>
      <p:pic>
        <p:nvPicPr>
          <p:cNvPr id="45" name="Picture 44">
            <a:extLst>
              <a:ext uri="{FF2B5EF4-FFF2-40B4-BE49-F238E27FC236}">
                <a16:creationId xmlns:a16="http://schemas.microsoft.com/office/drawing/2014/main" id="{D89ED4D8-A697-4E2B-806E-F35A3DB87C0C}"/>
              </a:ext>
            </a:extLst>
          </p:cNvPr>
          <p:cNvPicPr>
            <a:picLocks noChangeAspect="1"/>
          </p:cNvPicPr>
          <p:nvPr/>
        </p:nvPicPr>
        <p:blipFill>
          <a:blip r:embed="rId14"/>
          <a:stretch>
            <a:fillRect/>
          </a:stretch>
        </p:blipFill>
        <p:spPr>
          <a:xfrm>
            <a:off x="3563888" y="2412672"/>
            <a:ext cx="5148447" cy="3246026"/>
          </a:xfrm>
          <a:prstGeom prst="rect">
            <a:avLst/>
          </a:prstGeom>
        </p:spPr>
      </p:pic>
      <p:sp>
        <p:nvSpPr>
          <p:cNvPr id="2" name="TextBox 1"/>
          <p:cNvSpPr txBox="1"/>
          <p:nvPr/>
        </p:nvSpPr>
        <p:spPr>
          <a:xfrm>
            <a:off x="528376" y="441667"/>
            <a:ext cx="7538683" cy="369332"/>
          </a:xfrm>
          <a:prstGeom prst="rect">
            <a:avLst/>
          </a:prstGeom>
          <a:noFill/>
        </p:spPr>
        <p:txBody>
          <a:bodyPr wrap="square" rtlCol="0">
            <a:spAutoFit/>
          </a:bodyPr>
          <a:lstStyle/>
          <a:p>
            <a:r>
              <a:rPr lang="en-GB" b="1" dirty="0" smtClean="0">
                <a:solidFill>
                  <a:schemeClr val="bg1"/>
                </a:solidFill>
              </a:rPr>
              <a:t>Stakeholder Engagement</a:t>
            </a:r>
            <a:endParaRPr lang="en-GB" b="1" dirty="0">
              <a:solidFill>
                <a:schemeClr val="bg1"/>
              </a:solidFill>
            </a:endParaRPr>
          </a:p>
        </p:txBody>
      </p:sp>
    </p:spTree>
    <p:extLst>
      <p:ext uri="{BB962C8B-B14F-4D97-AF65-F5344CB8AC3E}">
        <p14:creationId xmlns:p14="http://schemas.microsoft.com/office/powerpoint/2010/main" val="3530535788"/>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1800" dirty="0"/>
              <a:t>Internal Communications and Two-Way Engagement</a:t>
            </a:r>
            <a:endParaRPr lang="en-GB" dirty="0"/>
          </a:p>
        </p:txBody>
      </p:sp>
      <p:sp>
        <p:nvSpPr>
          <p:cNvPr id="4" name="Slide Number Placeholder 3"/>
          <p:cNvSpPr>
            <a:spLocks noGrp="1"/>
          </p:cNvSpPr>
          <p:nvPr>
            <p:ph type="sldNum" sz="quarter" idx="10"/>
          </p:nvPr>
        </p:nvSpPr>
        <p:spPr/>
        <p:txBody>
          <a:bodyPr/>
          <a:lstStyle/>
          <a:p>
            <a:pPr>
              <a:defRPr/>
            </a:pPr>
            <a:fld id="{D161869A-595C-4EA7-9471-C11BD2D249B0}" type="slidenum">
              <a:rPr lang="en-GB" altLang="en-US" smtClean="0">
                <a:solidFill>
                  <a:srgbClr val="FFFFFF"/>
                </a:solidFill>
              </a:rPr>
              <a:pPr>
                <a:defRPr/>
              </a:pPr>
              <a:t>11</a:t>
            </a:fld>
            <a:endParaRPr lang="en-GB" altLang="en-US">
              <a:solidFill>
                <a:srgbClr val="FFFFFF"/>
              </a:solidFill>
            </a:endParaRPr>
          </a:p>
        </p:txBody>
      </p:sp>
      <p:sp>
        <p:nvSpPr>
          <p:cNvPr id="7" name="Content Placeholder 6">
            <a:extLst>
              <a:ext uri="{FF2B5EF4-FFF2-40B4-BE49-F238E27FC236}">
                <a16:creationId xmlns:a16="http://schemas.microsoft.com/office/drawing/2014/main" id="{76EE4C2B-086B-48ED-A7BB-749B2D2CBB8D}"/>
              </a:ext>
            </a:extLst>
          </p:cNvPr>
          <p:cNvSpPr txBox="1">
            <a:spLocks noGrp="1"/>
          </p:cNvSpPr>
          <p:nvPr>
            <p:ph idx="1"/>
          </p:nvPr>
        </p:nvSpPr>
        <p:spPr>
          <a:xfrm>
            <a:off x="5147733" y="3300701"/>
            <a:ext cx="3612093" cy="32431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indent="0" algn="ctr">
              <a:buNone/>
            </a:pPr>
            <a:endParaRPr lang="en-GB" b="1" i="1" dirty="0" smtClean="0">
              <a:solidFill>
                <a:schemeClr val="accent6">
                  <a:lumMod val="10000"/>
                </a:schemeClr>
              </a:solidFill>
              <a:ea typeface="+mn-lt"/>
              <a:cs typeface="+mn-lt"/>
            </a:endParaRPr>
          </a:p>
          <a:p>
            <a:pPr marL="0" indent="0" algn="ctr">
              <a:buNone/>
            </a:pPr>
            <a:endParaRPr lang="en-GB" b="1" i="1" dirty="0">
              <a:solidFill>
                <a:schemeClr val="accent6">
                  <a:lumMod val="10000"/>
                </a:schemeClr>
              </a:solidFill>
              <a:ea typeface="+mn-lt"/>
              <a:cs typeface="+mn-lt"/>
            </a:endParaRPr>
          </a:p>
          <a:p>
            <a:pPr marL="0" indent="0" algn="ctr">
              <a:buNone/>
            </a:pPr>
            <a:r>
              <a:rPr lang="en-GB" b="1" i="1" dirty="0" smtClean="0">
                <a:solidFill>
                  <a:schemeClr val="accent6">
                    <a:lumMod val="10000"/>
                  </a:schemeClr>
                </a:solidFill>
                <a:ea typeface="+mn-lt"/>
                <a:cs typeface="+mn-lt"/>
              </a:rPr>
              <a:t>Have </a:t>
            </a:r>
            <a:r>
              <a:rPr lang="en-GB" b="1" i="1" dirty="0">
                <a:solidFill>
                  <a:schemeClr val="accent6">
                    <a:lumMod val="10000"/>
                  </a:schemeClr>
                </a:solidFill>
                <a:ea typeface="+mn-lt"/>
                <a:cs typeface="+mn-lt"/>
              </a:rPr>
              <a:t>your say on the future of </a:t>
            </a:r>
            <a:r>
              <a:rPr lang="en-GB" b="1" i="1" dirty="0" smtClean="0">
                <a:solidFill>
                  <a:schemeClr val="accent6">
                    <a:lumMod val="10000"/>
                  </a:schemeClr>
                </a:solidFill>
                <a:ea typeface="+mn-lt"/>
                <a:cs typeface="+mn-lt"/>
              </a:rPr>
              <a:t>Finance!</a:t>
            </a:r>
            <a:endParaRPr lang="en-GB" dirty="0">
              <a:ea typeface="+mn-lt"/>
              <a:cs typeface="+mn-lt"/>
            </a:endParaRPr>
          </a:p>
          <a:p>
            <a:pPr marL="171450" indent="-171450">
              <a:buFont typeface="Arial"/>
              <a:buChar char="•"/>
            </a:pPr>
            <a:r>
              <a:rPr lang="en-GB" sz="1200" b="1" dirty="0">
                <a:ea typeface="+mn-lt"/>
                <a:cs typeface="+mn-lt"/>
              </a:rPr>
              <a:t>Two-way engagement </a:t>
            </a:r>
            <a:r>
              <a:rPr lang="en-GB" sz="1200" b="1" dirty="0" smtClean="0">
                <a:ea typeface="+mn-lt"/>
                <a:cs typeface="+mn-lt"/>
              </a:rPr>
              <a:t>is key. We have listed anticipated FAQs</a:t>
            </a:r>
          </a:p>
          <a:p>
            <a:pPr marL="171450" indent="-171450">
              <a:buFont typeface="Arial"/>
              <a:buChar char="•"/>
            </a:pPr>
            <a:r>
              <a:rPr lang="en-GB" sz="1200" b="1" dirty="0">
                <a:ea typeface="+mn-lt"/>
                <a:cs typeface="+mn-lt"/>
              </a:rPr>
              <a:t>E</a:t>
            </a:r>
            <a:r>
              <a:rPr lang="en-GB" sz="1200" b="1" dirty="0" smtClean="0">
                <a:ea typeface="+mn-lt"/>
                <a:cs typeface="+mn-lt"/>
              </a:rPr>
              <a:t>mployees encouraged </a:t>
            </a:r>
            <a:r>
              <a:rPr lang="en-GB" sz="1200" b="1" dirty="0">
                <a:ea typeface="+mn-lt"/>
                <a:cs typeface="+mn-lt"/>
              </a:rPr>
              <a:t>to submit any queries via </a:t>
            </a:r>
            <a:r>
              <a:rPr lang="en-GB" sz="1200" b="1" dirty="0" smtClean="0">
                <a:ea typeface="+mn-lt"/>
                <a:cs typeface="+mn-lt"/>
              </a:rPr>
              <a:t>FTP mailbox on </a:t>
            </a:r>
            <a:r>
              <a:rPr lang="en-GB" sz="1200" b="1" dirty="0">
                <a:ea typeface="+mn-lt"/>
                <a:cs typeface="+mn-lt"/>
              </a:rPr>
              <a:t>the website or email: </a:t>
            </a:r>
            <a:endParaRPr lang="en-GB" sz="1200" b="1" dirty="0" smtClean="0">
              <a:solidFill>
                <a:srgbClr val="00B0F0"/>
              </a:solidFill>
              <a:ea typeface="+mn-lt"/>
              <a:cs typeface="+mn-lt"/>
            </a:endParaRPr>
          </a:p>
          <a:p>
            <a:pPr marL="0" indent="0" algn="ctr">
              <a:buNone/>
            </a:pPr>
            <a:r>
              <a:rPr lang="en-GB" sz="1200" b="1" dirty="0" smtClean="0">
                <a:solidFill>
                  <a:srgbClr val="00B0F0"/>
                </a:solidFill>
                <a:ea typeface="+mn-lt"/>
                <a:cs typeface="+mn-lt"/>
              </a:rPr>
              <a:t>ftprogramme@admin.cam.ac.uk</a:t>
            </a:r>
            <a:endParaRPr lang="en-GB" sz="1200" dirty="0">
              <a:solidFill>
                <a:srgbClr val="00B0F0"/>
              </a:solidFill>
              <a:ea typeface="+mn-lt"/>
              <a:cs typeface="+mn-lt"/>
            </a:endParaRPr>
          </a:p>
          <a:p>
            <a:pPr marL="0" indent="0" algn="ctr">
              <a:buNone/>
            </a:pPr>
            <a:r>
              <a:rPr lang="en-GB" sz="1200" b="1" dirty="0">
                <a:solidFill>
                  <a:srgbClr val="00B0F0"/>
                </a:solidFill>
              </a:rPr>
              <a:t>    </a:t>
            </a:r>
            <a:endParaRPr lang="en-GB" sz="1400" b="1" u="sng" dirty="0">
              <a:solidFill>
                <a:srgbClr val="00B0F0"/>
              </a:solidFill>
              <a:cs typeface="Arial"/>
            </a:endParaRPr>
          </a:p>
        </p:txBody>
      </p:sp>
      <p:pic>
        <p:nvPicPr>
          <p:cNvPr id="8" name="Picture 7" descr="A picture containing drawing&#10;&#10;Description generated with very high confidence">
            <a:extLst>
              <a:ext uri="{FF2B5EF4-FFF2-40B4-BE49-F238E27FC236}">
                <a16:creationId xmlns:a16="http://schemas.microsoft.com/office/drawing/2014/main" id="{342FCE66-09AB-48EA-A6FD-2E6D7C7866E2}"/>
              </a:ext>
            </a:extLst>
          </p:cNvPr>
          <p:cNvPicPr>
            <a:picLocks noChangeAspect="1"/>
          </p:cNvPicPr>
          <p:nvPr/>
        </p:nvPicPr>
        <p:blipFill>
          <a:blip r:embed="rId3"/>
          <a:stretch>
            <a:fillRect/>
          </a:stretch>
        </p:blipFill>
        <p:spPr>
          <a:xfrm>
            <a:off x="125333" y="3857309"/>
            <a:ext cx="3425681" cy="675770"/>
          </a:xfrm>
          <a:prstGeom prst="rect">
            <a:avLst/>
          </a:prstGeom>
        </p:spPr>
      </p:pic>
      <p:sp>
        <p:nvSpPr>
          <p:cNvPr id="9" name="Rectangle 8"/>
          <p:cNvSpPr/>
          <p:nvPr/>
        </p:nvSpPr>
        <p:spPr>
          <a:xfrm>
            <a:off x="256478" y="4818156"/>
            <a:ext cx="2585207" cy="1200329"/>
          </a:xfrm>
          <a:prstGeom prst="rect">
            <a:avLst/>
          </a:prstGeom>
        </p:spPr>
        <p:txBody>
          <a:bodyPr wrap="square">
            <a:spAutoFit/>
          </a:bodyPr>
          <a:lstStyle/>
          <a:p>
            <a:pPr marL="171450" indent="-171450">
              <a:buFont typeface="Arial"/>
              <a:buChar char="•"/>
            </a:pPr>
            <a:r>
              <a:rPr lang="en-GB" sz="1200" b="1" dirty="0" smtClean="0"/>
              <a:t>Targeting the University's internal communications channels including the staff website, Finance intranet, </a:t>
            </a:r>
            <a:r>
              <a:rPr lang="en-GB" sz="1200" b="1" i="1" dirty="0" err="1" smtClean="0"/>
              <a:t>our</a:t>
            </a:r>
            <a:r>
              <a:rPr lang="en-GB" sz="1200" b="1" dirty="0" err="1" smtClean="0"/>
              <a:t>cambridge</a:t>
            </a:r>
            <a:r>
              <a:rPr lang="en-GB" sz="1200" b="1" i="1" dirty="0" smtClean="0"/>
              <a:t>, </a:t>
            </a:r>
            <a:r>
              <a:rPr lang="en-GB" sz="1200" b="1" dirty="0" smtClean="0"/>
              <a:t>Knowledge Bites and Yammer</a:t>
            </a:r>
            <a:endParaRPr lang="en-US" sz="1200" b="1" dirty="0"/>
          </a:p>
        </p:txBody>
      </p:sp>
      <p:pic>
        <p:nvPicPr>
          <p:cNvPr id="10" name="Picture 5" descr="A picture containing drawing&#10;&#10;Description generated with very high confidence">
            <a:extLst>
              <a:ext uri="{FF2B5EF4-FFF2-40B4-BE49-F238E27FC236}">
                <a16:creationId xmlns:a16="http://schemas.microsoft.com/office/drawing/2014/main" id="{14860D15-4FEB-4A14-8C82-E9C3860C95DA}"/>
              </a:ext>
            </a:extLst>
          </p:cNvPr>
          <p:cNvPicPr>
            <a:picLocks noChangeAspect="1"/>
          </p:cNvPicPr>
          <p:nvPr/>
        </p:nvPicPr>
        <p:blipFill>
          <a:blip r:embed="rId4"/>
          <a:stretch>
            <a:fillRect/>
          </a:stretch>
        </p:blipFill>
        <p:spPr>
          <a:xfrm>
            <a:off x="2714672" y="4684745"/>
            <a:ext cx="1170118" cy="1169778"/>
          </a:xfrm>
          <a:prstGeom prst="rect">
            <a:avLst/>
          </a:prstGeom>
        </p:spPr>
      </p:pic>
      <p:sp>
        <p:nvSpPr>
          <p:cNvPr id="11" name="TextBox 10">
            <a:extLst>
              <a:ext uri="{FF2B5EF4-FFF2-40B4-BE49-F238E27FC236}">
                <a16:creationId xmlns:a16="http://schemas.microsoft.com/office/drawing/2014/main" id="{164246BE-7B61-4437-938C-F75E0392B856}"/>
              </a:ext>
            </a:extLst>
          </p:cNvPr>
          <p:cNvSpPr txBox="1"/>
          <p:nvPr/>
        </p:nvSpPr>
        <p:spPr>
          <a:xfrm>
            <a:off x="-3422839" y="1683835"/>
            <a:ext cx="1560585" cy="486287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171450" indent="-171450">
              <a:buFont typeface="Arial"/>
              <a:buChar char="•"/>
            </a:pPr>
            <a:endParaRPr lang="en-GB" sz="1200" b="1" dirty="0"/>
          </a:p>
          <a:p>
            <a:pPr marL="171450" indent="-171450">
              <a:buFont typeface="Arial"/>
              <a:buChar char="•"/>
            </a:pPr>
            <a:endParaRPr lang="en-GB" sz="1200" b="1" dirty="0"/>
          </a:p>
          <a:p>
            <a:pPr marL="171450" indent="-171450">
              <a:buFont typeface="Arial"/>
              <a:buChar char="•"/>
            </a:pPr>
            <a:endParaRPr lang="en-GB" sz="1200" b="1" dirty="0"/>
          </a:p>
          <a:p>
            <a:pPr marL="171450" indent="-171450">
              <a:buFont typeface="Arial"/>
              <a:buChar char="•"/>
            </a:pPr>
            <a:endParaRPr lang="en-GB" sz="1200" b="1" dirty="0"/>
          </a:p>
          <a:p>
            <a:pPr marL="171450" indent="-171450">
              <a:buFont typeface="Arial"/>
              <a:buChar char="•"/>
            </a:pPr>
            <a:endParaRPr lang="en-GB" sz="1200" b="1" dirty="0"/>
          </a:p>
          <a:p>
            <a:pPr marL="171450" indent="-171450">
              <a:buFont typeface="Arial"/>
              <a:buChar char="•"/>
            </a:pPr>
            <a:endParaRPr lang="en-GB" sz="1200" b="1" dirty="0">
              <a:cs typeface="Arial" panose="020B0604020202020204"/>
            </a:endParaRPr>
          </a:p>
          <a:p>
            <a:pPr marL="171450" indent="-171450">
              <a:buFont typeface="Arial"/>
              <a:buChar char="•"/>
            </a:pPr>
            <a:endParaRPr lang="en-GB" sz="1200" b="1" dirty="0">
              <a:cs typeface="Arial" panose="020B0604020202020204"/>
            </a:endParaRPr>
          </a:p>
          <a:p>
            <a:pPr marL="171450" indent="-171450">
              <a:buFont typeface="Arial"/>
              <a:buChar char="•"/>
            </a:pPr>
            <a:endParaRPr lang="en-GB" sz="1200" b="1" dirty="0" smtClean="0">
              <a:cs typeface="Arial"/>
            </a:endParaRPr>
          </a:p>
          <a:p>
            <a:endParaRPr lang="en-GB" sz="1200" b="1" dirty="0" smtClean="0">
              <a:cs typeface="Arial"/>
            </a:endParaRPr>
          </a:p>
          <a:p>
            <a:pPr marL="171450" indent="-171450">
              <a:buFont typeface="Arial"/>
              <a:buChar char="•"/>
            </a:pPr>
            <a:endParaRPr lang="en-GB" sz="1200" b="1" dirty="0" smtClean="0">
              <a:cs typeface="Arial"/>
            </a:endParaRPr>
          </a:p>
          <a:p>
            <a:pPr marL="171450" indent="-171450">
              <a:buFont typeface="Arial"/>
              <a:buChar char="•"/>
            </a:pPr>
            <a:endParaRPr lang="en-GB" sz="1200" b="1" dirty="0" smtClean="0">
              <a:solidFill>
                <a:srgbClr val="5D717F"/>
              </a:solidFill>
              <a:cs typeface="Arial"/>
            </a:endParaRPr>
          </a:p>
          <a:p>
            <a:pPr marL="171450" indent="-171450">
              <a:buFont typeface="Arial"/>
              <a:buChar char="•"/>
            </a:pPr>
            <a:endParaRPr lang="en-GB" sz="1200" b="1" dirty="0">
              <a:solidFill>
                <a:srgbClr val="5D717F"/>
              </a:solidFill>
              <a:cs typeface="Arial"/>
            </a:endParaRPr>
          </a:p>
          <a:p>
            <a:pPr marL="171450" indent="-171450">
              <a:buFont typeface="Arial"/>
              <a:buChar char="•"/>
            </a:pPr>
            <a:endParaRPr lang="en-GB" sz="1200" b="1" dirty="0" smtClean="0">
              <a:solidFill>
                <a:srgbClr val="5D717F"/>
              </a:solidFill>
              <a:cs typeface="Arial"/>
            </a:endParaRPr>
          </a:p>
          <a:p>
            <a:pPr marL="171450" indent="-171450">
              <a:buFont typeface="Arial"/>
              <a:buChar char="•"/>
            </a:pPr>
            <a:endParaRPr lang="en-GB" sz="1200" b="1" dirty="0" smtClean="0">
              <a:solidFill>
                <a:srgbClr val="5D717F"/>
              </a:solidFill>
              <a:cs typeface="Arial"/>
            </a:endParaRPr>
          </a:p>
          <a:p>
            <a:pPr marL="171450" indent="-171450">
              <a:buFont typeface="Arial"/>
              <a:buChar char="•"/>
            </a:pPr>
            <a:endParaRPr lang="en-GB" sz="1200" dirty="0" smtClean="0">
              <a:solidFill>
                <a:srgbClr val="5D717F"/>
              </a:solidFill>
              <a:cs typeface="Arial"/>
            </a:endParaRPr>
          </a:p>
          <a:p>
            <a:pPr marL="171450" indent="-171450">
              <a:buFont typeface="Arial"/>
              <a:buChar char="•"/>
            </a:pPr>
            <a:endParaRPr lang="en-GB" sz="1200" dirty="0">
              <a:solidFill>
                <a:srgbClr val="5D717F"/>
              </a:solidFill>
              <a:cs typeface="Arial"/>
            </a:endParaRPr>
          </a:p>
          <a:p>
            <a:pPr marL="171450" indent="-171450">
              <a:buFont typeface="Arial"/>
              <a:buChar char="•"/>
            </a:pPr>
            <a:endParaRPr lang="en-GB" sz="1200" dirty="0" smtClean="0">
              <a:solidFill>
                <a:srgbClr val="5D717F"/>
              </a:solidFill>
              <a:cs typeface="Arial"/>
            </a:endParaRPr>
          </a:p>
          <a:p>
            <a:endParaRPr lang="en-GB" sz="1200" dirty="0">
              <a:solidFill>
                <a:srgbClr val="5D717F"/>
              </a:solidFill>
              <a:cs typeface="Arial"/>
            </a:endParaRPr>
          </a:p>
          <a:p>
            <a:pPr marL="171450" indent="-171450">
              <a:buFont typeface="Arial"/>
              <a:buChar char="•"/>
            </a:pPr>
            <a:endParaRPr lang="en-GB" sz="1200" dirty="0">
              <a:solidFill>
                <a:srgbClr val="5D717F"/>
              </a:solidFill>
              <a:cs typeface="Arial"/>
            </a:endParaRPr>
          </a:p>
          <a:p>
            <a:endParaRPr lang="en-GB" sz="1200" i="1" dirty="0" smtClean="0">
              <a:solidFill>
                <a:srgbClr val="10171C"/>
              </a:solidFill>
              <a:cs typeface="Arial"/>
            </a:endParaRPr>
          </a:p>
          <a:p>
            <a:endParaRPr lang="en-GB" b="1" i="1" dirty="0">
              <a:solidFill>
                <a:srgbClr val="10171C"/>
              </a:solidFill>
              <a:cs typeface="Arial"/>
            </a:endParaRPr>
          </a:p>
          <a:p>
            <a:pPr algn="ctr"/>
            <a:endParaRPr lang="en-GB" b="1" i="1" dirty="0">
              <a:solidFill>
                <a:srgbClr val="10171C"/>
              </a:solidFill>
              <a:cs typeface="Arial"/>
            </a:endParaRPr>
          </a:p>
          <a:p>
            <a:endParaRPr lang="en-GB" sz="1200" dirty="0">
              <a:cs typeface="Arial"/>
            </a:endParaRPr>
          </a:p>
          <a:p>
            <a:endParaRPr lang="en-GB" sz="1100" dirty="0">
              <a:cs typeface="Arial"/>
            </a:endParaRPr>
          </a:p>
          <a:p>
            <a:endParaRPr lang="en-GB" sz="1100" dirty="0">
              <a:cs typeface="Arial"/>
            </a:endParaRPr>
          </a:p>
        </p:txBody>
      </p:sp>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89036" y="1325919"/>
            <a:ext cx="5075291" cy="2650237"/>
          </a:xfrm>
          <a:prstGeom prst="rect">
            <a:avLst/>
          </a:prstGeom>
        </p:spPr>
      </p:pic>
      <p:sp>
        <p:nvSpPr>
          <p:cNvPr id="15" name="Rectangle 14"/>
          <p:cNvSpPr/>
          <p:nvPr/>
        </p:nvSpPr>
        <p:spPr>
          <a:xfrm>
            <a:off x="125333" y="1490131"/>
            <a:ext cx="3389971" cy="2123658"/>
          </a:xfrm>
          <a:prstGeom prst="rect">
            <a:avLst/>
          </a:prstGeom>
        </p:spPr>
        <p:txBody>
          <a:bodyPr wrap="square">
            <a:spAutoFit/>
          </a:bodyPr>
          <a:lstStyle/>
          <a:p>
            <a:pPr marL="171450" indent="-171450">
              <a:buFont typeface="Arial"/>
              <a:buChar char="•"/>
            </a:pPr>
            <a:r>
              <a:rPr lang="en-GB" sz="1200" b="1" dirty="0"/>
              <a:t>Website for further information about FTP and its key projects</a:t>
            </a:r>
            <a:endParaRPr lang="en-GB" sz="1200" dirty="0">
              <a:cs typeface="Arial"/>
            </a:endParaRPr>
          </a:p>
          <a:p>
            <a:pPr marL="171450" indent="-171450">
              <a:buFont typeface="Arial"/>
              <a:buChar char="•"/>
            </a:pPr>
            <a:endParaRPr lang="en-GB" sz="1200" b="1" dirty="0">
              <a:cs typeface="Arial"/>
            </a:endParaRPr>
          </a:p>
          <a:p>
            <a:pPr marL="171450" indent="-171450">
              <a:buFont typeface="Arial"/>
              <a:buChar char="•"/>
            </a:pPr>
            <a:r>
              <a:rPr lang="en-GB" sz="1200" b="1" dirty="0">
                <a:cs typeface="Arial"/>
              </a:rPr>
              <a:t>News and updates about the programme and key projects regularly posted to the site</a:t>
            </a:r>
          </a:p>
          <a:p>
            <a:endParaRPr lang="en-GB" sz="1200" b="1" dirty="0">
              <a:cs typeface="Arial"/>
            </a:endParaRPr>
          </a:p>
          <a:p>
            <a:pPr marL="171450" indent="-171450">
              <a:buFont typeface="Arial"/>
              <a:buChar char="•"/>
            </a:pPr>
            <a:r>
              <a:rPr lang="en-GB" sz="1200" b="1" dirty="0">
                <a:cs typeface="Arial"/>
              </a:rPr>
              <a:t>Creation of FTP Yammer group</a:t>
            </a:r>
          </a:p>
          <a:p>
            <a:endParaRPr lang="en-GB" sz="1200" b="1" dirty="0">
              <a:cs typeface="Arial"/>
            </a:endParaRPr>
          </a:p>
          <a:p>
            <a:pPr marL="171450" indent="-171450">
              <a:buFont typeface="Arial"/>
              <a:buChar char="•"/>
            </a:pPr>
            <a:r>
              <a:rPr lang="en-GB" sz="1200" b="1" dirty="0">
                <a:cs typeface="Arial"/>
              </a:rPr>
              <a:t>Communications </a:t>
            </a:r>
            <a:r>
              <a:rPr lang="en-GB" sz="1200" b="1" dirty="0" smtClean="0">
                <a:cs typeface="Arial"/>
              </a:rPr>
              <a:t>planner </a:t>
            </a:r>
            <a:r>
              <a:rPr lang="en-GB" sz="1200" b="1" dirty="0">
                <a:cs typeface="Arial"/>
              </a:rPr>
              <a:t>across the FTP programme and key projects</a:t>
            </a:r>
          </a:p>
        </p:txBody>
      </p:sp>
      <p:sp>
        <p:nvSpPr>
          <p:cNvPr id="16" name="TextBox 15"/>
          <p:cNvSpPr txBox="1"/>
          <p:nvPr/>
        </p:nvSpPr>
        <p:spPr>
          <a:xfrm>
            <a:off x="3803183" y="5048988"/>
            <a:ext cx="1115122" cy="369332"/>
          </a:xfrm>
          <a:prstGeom prst="rect">
            <a:avLst/>
          </a:prstGeom>
          <a:noFill/>
        </p:spPr>
        <p:txBody>
          <a:bodyPr wrap="square" rtlCol="0">
            <a:spAutoFit/>
          </a:bodyPr>
          <a:lstStyle/>
          <a:p>
            <a:r>
              <a:rPr lang="en-GB" b="1" dirty="0" smtClean="0">
                <a:solidFill>
                  <a:srgbClr val="0070C0"/>
                </a:solidFill>
              </a:rPr>
              <a:t>Yammer</a:t>
            </a:r>
            <a:endParaRPr lang="en-GB" b="1" dirty="0">
              <a:solidFill>
                <a:srgbClr val="0070C0"/>
              </a:solidFill>
            </a:endParaRPr>
          </a:p>
        </p:txBody>
      </p:sp>
    </p:spTree>
    <p:extLst>
      <p:ext uri="{BB962C8B-B14F-4D97-AF65-F5344CB8AC3E}">
        <p14:creationId xmlns:p14="http://schemas.microsoft.com/office/powerpoint/2010/main" val="1933711344"/>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937" y="2889584"/>
            <a:ext cx="8374063" cy="576263"/>
          </a:xfrm>
        </p:spPr>
        <p:txBody>
          <a:bodyPr/>
          <a:lstStyle/>
          <a:p>
            <a:r>
              <a:rPr lang="en-GB" dirty="0" smtClean="0"/>
              <a:t>Summary of Finding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CD919-132B-49DF-A2C6-FA922BC216FD}" type="slidenum">
              <a:rPr kumimoji="0" lang="en-GB" altLang="en-US" sz="750" b="0" i="0" u="none" strike="noStrike" kern="1200" cap="none" spc="0" normalizeH="0" baseline="0" noProof="0" smtClean="0">
                <a:ln>
                  <a:noFill/>
                </a:ln>
                <a:solidFill>
                  <a:srgbClr val="003E7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altLang="en-US" sz="750" b="0" i="0" u="none" strike="noStrike" kern="1200" cap="none" spc="0" normalizeH="0" baseline="0" noProof="0">
              <a:ln>
                <a:noFill/>
              </a:ln>
              <a:solidFill>
                <a:srgbClr val="003E72"/>
              </a:solidFill>
              <a:effectLst/>
              <a:uLnTx/>
              <a:uFillTx/>
              <a:latin typeface="Arial"/>
              <a:ea typeface="+mn-ea"/>
              <a:cs typeface="+mn-cs"/>
            </a:endParaRPr>
          </a:p>
        </p:txBody>
      </p:sp>
    </p:spTree>
    <p:extLst>
      <p:ext uri="{BB962C8B-B14F-4D97-AF65-F5344CB8AC3E}">
        <p14:creationId xmlns:p14="http://schemas.microsoft.com/office/powerpoint/2010/main" val="172642564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553182" y="805488"/>
            <a:ext cx="8038523" cy="478324"/>
          </a:xfrm>
        </p:spPr>
        <p:txBody>
          <a:bodyPr/>
          <a:lstStyle/>
          <a:p>
            <a:r>
              <a:rPr lang="en-GB" sz="2215" dirty="0"/>
              <a:t>FINDINGS FROM analysis (1)</a:t>
            </a:r>
          </a:p>
        </p:txBody>
      </p:sp>
      <p:grpSp>
        <p:nvGrpSpPr>
          <p:cNvPr id="48" name="Group 52"/>
          <p:cNvGrpSpPr>
            <a:grpSpLocks noChangeAspect="1"/>
          </p:cNvGrpSpPr>
          <p:nvPr/>
        </p:nvGrpSpPr>
        <p:grpSpPr bwMode="auto">
          <a:xfrm>
            <a:off x="3206312" y="2666079"/>
            <a:ext cx="2725311" cy="2740974"/>
            <a:chOff x="4230" y="2242"/>
            <a:chExt cx="1044" cy="1050"/>
          </a:xfrm>
        </p:grpSpPr>
        <p:sp>
          <p:nvSpPr>
            <p:cNvPr id="71" name="Freeform 53"/>
            <p:cNvSpPr>
              <a:spLocks/>
            </p:cNvSpPr>
            <p:nvPr/>
          </p:nvSpPr>
          <p:spPr bwMode="auto">
            <a:xfrm>
              <a:off x="4752" y="2242"/>
              <a:ext cx="370" cy="525"/>
            </a:xfrm>
            <a:custGeom>
              <a:avLst/>
              <a:gdLst/>
              <a:ahLst/>
              <a:cxnLst>
                <a:cxn ang="0">
                  <a:pos x="988" y="413"/>
                </a:cxn>
                <a:cxn ang="0">
                  <a:pos x="0" y="0"/>
                </a:cxn>
                <a:cxn ang="0">
                  <a:pos x="0" y="1400"/>
                </a:cxn>
                <a:cxn ang="0">
                  <a:pos x="988" y="413"/>
                </a:cxn>
              </a:cxnLst>
              <a:rect l="0" t="0" r="r" b="b"/>
              <a:pathLst>
                <a:path w="988" h="1400">
                  <a:moveTo>
                    <a:pt x="988" y="413"/>
                  </a:moveTo>
                  <a:cubicBezTo>
                    <a:pt x="726" y="149"/>
                    <a:pt x="371" y="0"/>
                    <a:pt x="0" y="0"/>
                  </a:cubicBezTo>
                  <a:lnTo>
                    <a:pt x="0" y="1400"/>
                  </a:lnTo>
                  <a:lnTo>
                    <a:pt x="988" y="413"/>
                  </a:lnTo>
                  <a:close/>
                </a:path>
              </a:pathLst>
            </a:custGeom>
            <a:solidFill>
              <a:schemeClr val="accent5">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2" name="Freeform 54"/>
            <p:cNvSpPr>
              <a:spLocks/>
            </p:cNvSpPr>
            <p:nvPr/>
          </p:nvSpPr>
          <p:spPr bwMode="auto">
            <a:xfrm>
              <a:off x="4752" y="2397"/>
              <a:ext cx="522" cy="370"/>
            </a:xfrm>
            <a:custGeom>
              <a:avLst/>
              <a:gdLst/>
              <a:ahLst/>
              <a:cxnLst>
                <a:cxn ang="0">
                  <a:pos x="1392" y="987"/>
                </a:cxn>
                <a:cxn ang="0">
                  <a:pos x="988" y="0"/>
                </a:cxn>
                <a:cxn ang="0">
                  <a:pos x="0" y="987"/>
                </a:cxn>
                <a:cxn ang="0">
                  <a:pos x="1392" y="987"/>
                </a:cxn>
              </a:cxnLst>
              <a:rect l="0" t="0" r="r" b="b"/>
              <a:pathLst>
                <a:path w="1392" h="987">
                  <a:moveTo>
                    <a:pt x="1392" y="987"/>
                  </a:moveTo>
                  <a:cubicBezTo>
                    <a:pt x="1392" y="618"/>
                    <a:pt x="1247" y="263"/>
                    <a:pt x="988" y="0"/>
                  </a:cubicBezTo>
                  <a:lnTo>
                    <a:pt x="0" y="987"/>
                  </a:lnTo>
                  <a:lnTo>
                    <a:pt x="1392" y="987"/>
                  </a:lnTo>
                  <a:close/>
                </a:path>
              </a:pathLst>
            </a:custGeom>
            <a:solidFill>
              <a:schemeClr val="accent4">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3" name="Freeform 55"/>
            <p:cNvSpPr>
              <a:spLocks/>
            </p:cNvSpPr>
            <p:nvPr/>
          </p:nvSpPr>
          <p:spPr bwMode="auto">
            <a:xfrm>
              <a:off x="4752" y="2767"/>
              <a:ext cx="522" cy="370"/>
            </a:xfrm>
            <a:custGeom>
              <a:avLst/>
              <a:gdLst/>
              <a:ahLst/>
              <a:cxnLst>
                <a:cxn ang="0">
                  <a:pos x="988" y="988"/>
                </a:cxn>
                <a:cxn ang="0">
                  <a:pos x="1392" y="0"/>
                </a:cxn>
                <a:cxn ang="0">
                  <a:pos x="0" y="0"/>
                </a:cxn>
                <a:cxn ang="0">
                  <a:pos x="988" y="988"/>
                </a:cxn>
              </a:cxnLst>
              <a:rect l="0" t="0" r="r" b="b"/>
              <a:pathLst>
                <a:path w="1392" h="988">
                  <a:moveTo>
                    <a:pt x="988" y="988"/>
                  </a:moveTo>
                  <a:cubicBezTo>
                    <a:pt x="1247" y="725"/>
                    <a:pt x="1392" y="370"/>
                    <a:pt x="1392" y="0"/>
                  </a:cubicBezTo>
                  <a:lnTo>
                    <a:pt x="0" y="0"/>
                  </a:lnTo>
                  <a:lnTo>
                    <a:pt x="988" y="988"/>
                  </a:lnTo>
                  <a:close/>
                </a:path>
              </a:pathLst>
            </a:custGeom>
            <a:solidFill>
              <a:schemeClr val="accent3">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4" name="Freeform 56"/>
            <p:cNvSpPr>
              <a:spLocks/>
            </p:cNvSpPr>
            <p:nvPr/>
          </p:nvSpPr>
          <p:spPr bwMode="auto">
            <a:xfrm>
              <a:off x="4752" y="2767"/>
              <a:ext cx="370" cy="525"/>
            </a:xfrm>
            <a:custGeom>
              <a:avLst/>
              <a:gdLst/>
              <a:ahLst/>
              <a:cxnLst>
                <a:cxn ang="0">
                  <a:pos x="0" y="1400"/>
                </a:cxn>
                <a:cxn ang="0">
                  <a:pos x="988" y="988"/>
                </a:cxn>
                <a:cxn ang="0">
                  <a:pos x="0" y="0"/>
                </a:cxn>
                <a:cxn ang="0">
                  <a:pos x="0" y="1400"/>
                </a:cxn>
              </a:cxnLst>
              <a:rect l="0" t="0" r="r" b="b"/>
              <a:pathLst>
                <a:path w="988" h="1400">
                  <a:moveTo>
                    <a:pt x="0" y="1400"/>
                  </a:moveTo>
                  <a:cubicBezTo>
                    <a:pt x="371" y="1400"/>
                    <a:pt x="726" y="1252"/>
                    <a:pt x="988" y="988"/>
                  </a:cubicBezTo>
                  <a:lnTo>
                    <a:pt x="0" y="0"/>
                  </a:lnTo>
                  <a:lnTo>
                    <a:pt x="0" y="1400"/>
                  </a:lnTo>
                  <a:close/>
                </a:path>
              </a:pathLst>
            </a:custGeom>
            <a:solidFill>
              <a:schemeClr val="accent1">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5" name="Freeform 57"/>
            <p:cNvSpPr>
              <a:spLocks/>
            </p:cNvSpPr>
            <p:nvPr/>
          </p:nvSpPr>
          <p:spPr bwMode="auto">
            <a:xfrm>
              <a:off x="4382" y="2767"/>
              <a:ext cx="370" cy="525"/>
            </a:xfrm>
            <a:custGeom>
              <a:avLst/>
              <a:gdLst/>
              <a:ahLst/>
              <a:cxnLst>
                <a:cxn ang="0">
                  <a:pos x="0" y="988"/>
                </a:cxn>
                <a:cxn ang="0">
                  <a:pos x="987" y="1400"/>
                </a:cxn>
                <a:cxn ang="0">
                  <a:pos x="987" y="0"/>
                </a:cxn>
                <a:cxn ang="0">
                  <a:pos x="0" y="988"/>
                </a:cxn>
              </a:cxnLst>
              <a:rect l="0" t="0" r="r" b="b"/>
              <a:pathLst>
                <a:path w="987" h="1400">
                  <a:moveTo>
                    <a:pt x="0" y="988"/>
                  </a:moveTo>
                  <a:cubicBezTo>
                    <a:pt x="262" y="1252"/>
                    <a:pt x="617" y="1400"/>
                    <a:pt x="987" y="1400"/>
                  </a:cubicBezTo>
                  <a:lnTo>
                    <a:pt x="987" y="0"/>
                  </a:lnTo>
                  <a:lnTo>
                    <a:pt x="0" y="988"/>
                  </a:lnTo>
                  <a:close/>
                </a:path>
              </a:pathLst>
            </a:custGeom>
            <a:solidFill>
              <a:schemeClr val="accent5">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6" name="Freeform 58"/>
            <p:cNvSpPr>
              <a:spLocks/>
            </p:cNvSpPr>
            <p:nvPr/>
          </p:nvSpPr>
          <p:spPr bwMode="auto">
            <a:xfrm>
              <a:off x="4230" y="2767"/>
              <a:ext cx="522" cy="370"/>
            </a:xfrm>
            <a:custGeom>
              <a:avLst/>
              <a:gdLst/>
              <a:ahLst/>
              <a:cxnLst>
                <a:cxn ang="0">
                  <a:pos x="0" y="0"/>
                </a:cxn>
                <a:cxn ang="0">
                  <a:pos x="405" y="988"/>
                </a:cxn>
                <a:cxn ang="0">
                  <a:pos x="1392" y="0"/>
                </a:cxn>
                <a:cxn ang="0">
                  <a:pos x="0" y="0"/>
                </a:cxn>
              </a:cxnLst>
              <a:rect l="0" t="0" r="r" b="b"/>
              <a:pathLst>
                <a:path w="1392" h="988">
                  <a:moveTo>
                    <a:pt x="0" y="0"/>
                  </a:moveTo>
                  <a:cubicBezTo>
                    <a:pt x="0" y="370"/>
                    <a:pt x="146" y="725"/>
                    <a:pt x="405" y="988"/>
                  </a:cubicBezTo>
                  <a:lnTo>
                    <a:pt x="1392" y="0"/>
                  </a:lnTo>
                  <a:lnTo>
                    <a:pt x="0" y="0"/>
                  </a:lnTo>
                  <a:close/>
                </a:path>
              </a:pathLst>
            </a:custGeom>
            <a:solidFill>
              <a:schemeClr val="accent4">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7" name="Freeform 59"/>
            <p:cNvSpPr>
              <a:spLocks/>
            </p:cNvSpPr>
            <p:nvPr/>
          </p:nvSpPr>
          <p:spPr bwMode="auto">
            <a:xfrm>
              <a:off x="4230" y="2397"/>
              <a:ext cx="522" cy="370"/>
            </a:xfrm>
            <a:custGeom>
              <a:avLst/>
              <a:gdLst/>
              <a:ahLst/>
              <a:cxnLst>
                <a:cxn ang="0">
                  <a:pos x="405" y="0"/>
                </a:cxn>
                <a:cxn ang="0">
                  <a:pos x="0" y="987"/>
                </a:cxn>
                <a:cxn ang="0">
                  <a:pos x="1392" y="987"/>
                </a:cxn>
                <a:cxn ang="0">
                  <a:pos x="405" y="0"/>
                </a:cxn>
              </a:cxnLst>
              <a:rect l="0" t="0" r="r" b="b"/>
              <a:pathLst>
                <a:path w="1392" h="987">
                  <a:moveTo>
                    <a:pt x="405" y="0"/>
                  </a:moveTo>
                  <a:cubicBezTo>
                    <a:pt x="146" y="263"/>
                    <a:pt x="0" y="618"/>
                    <a:pt x="0" y="987"/>
                  </a:cubicBezTo>
                  <a:lnTo>
                    <a:pt x="1392" y="987"/>
                  </a:lnTo>
                  <a:lnTo>
                    <a:pt x="405" y="0"/>
                  </a:lnTo>
                  <a:close/>
                </a:path>
              </a:pathLst>
            </a:custGeom>
            <a:solidFill>
              <a:schemeClr val="accent3">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8" name="Freeform 60"/>
            <p:cNvSpPr>
              <a:spLocks/>
            </p:cNvSpPr>
            <p:nvPr/>
          </p:nvSpPr>
          <p:spPr bwMode="auto">
            <a:xfrm>
              <a:off x="4382" y="2242"/>
              <a:ext cx="370" cy="525"/>
            </a:xfrm>
            <a:custGeom>
              <a:avLst/>
              <a:gdLst/>
              <a:ahLst/>
              <a:cxnLst>
                <a:cxn ang="0">
                  <a:pos x="987" y="0"/>
                </a:cxn>
                <a:cxn ang="0">
                  <a:pos x="0" y="413"/>
                </a:cxn>
                <a:cxn ang="0">
                  <a:pos x="987" y="1400"/>
                </a:cxn>
                <a:cxn ang="0">
                  <a:pos x="987" y="0"/>
                </a:cxn>
              </a:cxnLst>
              <a:rect l="0" t="0" r="r" b="b"/>
              <a:pathLst>
                <a:path w="987" h="1400">
                  <a:moveTo>
                    <a:pt x="987" y="0"/>
                  </a:moveTo>
                  <a:cubicBezTo>
                    <a:pt x="617" y="0"/>
                    <a:pt x="262" y="149"/>
                    <a:pt x="0" y="413"/>
                  </a:cubicBezTo>
                  <a:lnTo>
                    <a:pt x="987" y="1400"/>
                  </a:lnTo>
                  <a:lnTo>
                    <a:pt x="987" y="0"/>
                  </a:lnTo>
                  <a:close/>
                </a:path>
              </a:pathLst>
            </a:custGeom>
            <a:solidFill>
              <a:schemeClr val="accent1">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grpSp>
      <p:sp>
        <p:nvSpPr>
          <p:cNvPr id="50" name="Oval 49"/>
          <p:cNvSpPr/>
          <p:nvPr/>
        </p:nvSpPr>
        <p:spPr bwMode="ltGray">
          <a:xfrm>
            <a:off x="2834354" y="4095681"/>
            <a:ext cx="925191" cy="925191"/>
          </a:xfrm>
          <a:prstGeom prst="ellipse">
            <a:avLst/>
          </a:prstGeom>
          <a:solidFill>
            <a:schemeClr val="accent4"/>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1" name="Oval 50"/>
          <p:cNvSpPr/>
          <p:nvPr/>
        </p:nvSpPr>
        <p:spPr bwMode="ltGray">
          <a:xfrm>
            <a:off x="2834354" y="3053088"/>
            <a:ext cx="925191" cy="925191"/>
          </a:xfrm>
          <a:prstGeom prst="ellipse">
            <a:avLst/>
          </a:prstGeom>
          <a:solidFill>
            <a:schemeClr val="accent3"/>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40596F"/>
              </a:solidFill>
              <a:effectLst/>
              <a:uLnTx/>
              <a:uFillTx/>
              <a:latin typeface="Arial" panose="020B0604020202020204"/>
              <a:ea typeface="+mn-ea"/>
              <a:cs typeface="+mn-cs"/>
            </a:endParaRPr>
          </a:p>
        </p:txBody>
      </p:sp>
      <p:sp>
        <p:nvSpPr>
          <p:cNvPr id="52" name="Oval 51"/>
          <p:cNvSpPr/>
          <p:nvPr/>
        </p:nvSpPr>
        <p:spPr bwMode="ltGray">
          <a:xfrm>
            <a:off x="5372794" y="4095681"/>
            <a:ext cx="925191" cy="925191"/>
          </a:xfrm>
          <a:prstGeom prst="ellipse">
            <a:avLst/>
          </a:prstGeom>
          <a:solidFill>
            <a:schemeClr val="accent3"/>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3" name="Oval 52"/>
          <p:cNvSpPr/>
          <p:nvPr/>
        </p:nvSpPr>
        <p:spPr bwMode="ltGray">
          <a:xfrm>
            <a:off x="5372794" y="3053088"/>
            <a:ext cx="925191" cy="925191"/>
          </a:xfrm>
          <a:prstGeom prst="ellipse">
            <a:avLst/>
          </a:prstGeom>
          <a:solidFill>
            <a:schemeClr val="accent4"/>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4" name="Oval 53"/>
          <p:cNvSpPr/>
          <p:nvPr/>
        </p:nvSpPr>
        <p:spPr bwMode="ltGray">
          <a:xfrm>
            <a:off x="4635473" y="2257173"/>
            <a:ext cx="925191" cy="925191"/>
          </a:xfrm>
          <a:prstGeom prst="ellipse">
            <a:avLst/>
          </a:prstGeom>
          <a:solidFill>
            <a:schemeClr val="accent5"/>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5" name="Oval 54"/>
          <p:cNvSpPr/>
          <p:nvPr/>
        </p:nvSpPr>
        <p:spPr bwMode="ltGray">
          <a:xfrm>
            <a:off x="3571574" y="2257173"/>
            <a:ext cx="925191" cy="925191"/>
          </a:xfrm>
          <a:prstGeom prst="ellipse">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6" name="Oval 55"/>
          <p:cNvSpPr/>
          <p:nvPr/>
        </p:nvSpPr>
        <p:spPr bwMode="ltGray">
          <a:xfrm>
            <a:off x="4635473" y="4862773"/>
            <a:ext cx="925191" cy="925191"/>
          </a:xfrm>
          <a:prstGeom prst="ellipse">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7" name="Oval 56"/>
          <p:cNvSpPr/>
          <p:nvPr/>
        </p:nvSpPr>
        <p:spPr bwMode="ltGray">
          <a:xfrm>
            <a:off x="3571574" y="4862773"/>
            <a:ext cx="925191" cy="925191"/>
          </a:xfrm>
          <a:prstGeom prst="ellipse">
            <a:avLst/>
          </a:prstGeom>
          <a:solidFill>
            <a:schemeClr val="accent5"/>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8" name="Oval 57"/>
          <p:cNvSpPr/>
          <p:nvPr/>
        </p:nvSpPr>
        <p:spPr bwMode="ltGray">
          <a:xfrm>
            <a:off x="2907063" y="3130188"/>
            <a:ext cx="795456"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smtClean="0">
                <a:ln>
                  <a:noFill/>
                </a:ln>
                <a:solidFill>
                  <a:srgbClr val="5D717F"/>
                </a:solidFill>
                <a:effectLst/>
                <a:uLnTx/>
                <a:uFillTx/>
                <a:latin typeface="Arial" panose="020B0604020202020204"/>
                <a:ea typeface="+mn-ea"/>
                <a:cs typeface="Arial"/>
              </a:rPr>
              <a:t>Process variations</a:t>
            </a:r>
            <a:endParaRPr kumimoji="0" lang="en-GB" sz="738" b="1" i="0" u="none" strike="noStrike" kern="1200" cap="none" spc="0" normalizeH="0" baseline="0" noProof="0">
              <a:ln>
                <a:noFill/>
              </a:ln>
              <a:solidFill>
                <a:srgbClr val="5D717F"/>
              </a:solidFill>
              <a:effectLst/>
              <a:uLnTx/>
              <a:uFillTx/>
              <a:latin typeface="Arial" panose="020B0604020202020204"/>
              <a:ea typeface="+mn-ea"/>
              <a:cs typeface="Arial"/>
            </a:endParaRPr>
          </a:p>
        </p:txBody>
      </p:sp>
      <p:sp>
        <p:nvSpPr>
          <p:cNvPr id="59" name="Oval 58"/>
          <p:cNvSpPr/>
          <p:nvPr/>
        </p:nvSpPr>
        <p:spPr bwMode="ltGray">
          <a:xfrm>
            <a:off x="5449894" y="3130188"/>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Complex Chart of Accounts</a:t>
            </a:r>
          </a:p>
        </p:txBody>
      </p:sp>
      <p:sp>
        <p:nvSpPr>
          <p:cNvPr id="60" name="Oval 59"/>
          <p:cNvSpPr/>
          <p:nvPr/>
        </p:nvSpPr>
        <p:spPr bwMode="ltGray">
          <a:xfrm>
            <a:off x="2911454" y="4172782"/>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Fragmented processes</a:t>
            </a:r>
          </a:p>
        </p:txBody>
      </p:sp>
      <p:sp>
        <p:nvSpPr>
          <p:cNvPr id="61" name="Oval 60"/>
          <p:cNvSpPr/>
          <p:nvPr/>
        </p:nvSpPr>
        <p:spPr bwMode="ltGray">
          <a:xfrm>
            <a:off x="5449894" y="4172782"/>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mn-cs"/>
              </a:rPr>
              <a:t> Reporting</a:t>
            </a:r>
          </a:p>
        </p:txBody>
      </p:sp>
      <p:sp>
        <p:nvSpPr>
          <p:cNvPr id="62" name="Oval 61"/>
          <p:cNvSpPr/>
          <p:nvPr/>
        </p:nvSpPr>
        <p:spPr bwMode="ltGray">
          <a:xfrm>
            <a:off x="3648674" y="4939873"/>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Manually intensive</a:t>
            </a:r>
          </a:p>
        </p:txBody>
      </p:sp>
      <p:sp>
        <p:nvSpPr>
          <p:cNvPr id="63" name="Oval 62"/>
          <p:cNvSpPr/>
          <p:nvPr/>
        </p:nvSpPr>
        <p:spPr bwMode="ltGray">
          <a:xfrm>
            <a:off x="4712574" y="4939873"/>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Sub-optimal</a:t>
            </a:r>
            <a:endParaRPr kumimoji="0" lang="en-US" sz="1662" b="0" i="0" u="none" strike="noStrike" kern="1200" cap="none" spc="0" normalizeH="0" baseline="0" noProof="0">
              <a:ln>
                <a:noFill/>
              </a:ln>
              <a:solidFill>
                <a:srgbClr val="5D717F"/>
              </a:solidFill>
              <a:effectLst/>
              <a:uLnTx/>
              <a:uFillTx/>
              <a:latin typeface="Arial" panose="020B0604020202020204"/>
              <a:ea typeface="+mn-ea"/>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 Processes</a:t>
            </a: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64" name="Oval 63"/>
          <p:cNvSpPr/>
          <p:nvPr/>
        </p:nvSpPr>
        <p:spPr bwMode="ltGray">
          <a:xfrm>
            <a:off x="3648674" y="2334274"/>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mn-cs"/>
              </a:rPr>
              <a:t>End users</a:t>
            </a:r>
          </a:p>
        </p:txBody>
      </p:sp>
      <p:sp>
        <p:nvSpPr>
          <p:cNvPr id="65" name="Oval 64"/>
          <p:cNvSpPr/>
          <p:nvPr/>
        </p:nvSpPr>
        <p:spPr bwMode="ltGray">
          <a:xfrm>
            <a:off x="4712574" y="2334274"/>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mn-cs"/>
              </a:rPr>
              <a:t>No KPIs</a:t>
            </a:r>
          </a:p>
        </p:txBody>
      </p:sp>
      <p:sp>
        <p:nvSpPr>
          <p:cNvPr id="66" name="Oval 65"/>
          <p:cNvSpPr/>
          <p:nvPr/>
        </p:nvSpPr>
        <p:spPr bwMode="ltGray">
          <a:xfrm>
            <a:off x="3842522" y="3298450"/>
            <a:ext cx="1468587" cy="1468587"/>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477" b="0" i="0" u="none" strike="noStrike" kern="1200" cap="none" spc="0" normalizeH="0" baseline="0" noProof="0">
              <a:ln>
                <a:noFill/>
              </a:ln>
              <a:solidFill>
                <a:srgbClr val="968C6D"/>
              </a:solidFill>
              <a:effectLst/>
              <a:uLnTx/>
              <a:uFillTx/>
              <a:latin typeface="Arial" panose="020B0604020202020204"/>
              <a:ea typeface="+mn-ea"/>
              <a:cs typeface="+mn-cs"/>
            </a:endParaRPr>
          </a:p>
        </p:txBody>
      </p:sp>
      <p:sp>
        <p:nvSpPr>
          <p:cNvPr id="81" name="Rectangle 10"/>
          <p:cNvSpPr>
            <a:spLocks noChangeArrowheads="1"/>
          </p:cNvSpPr>
          <p:nvPr/>
        </p:nvSpPr>
        <p:spPr bwMode="auto">
          <a:xfrm>
            <a:off x="6375738" y="1996052"/>
            <a:ext cx="2217277" cy="46589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rPr>
              <a:t>Limited ability to set financial targets and KPIs</a:t>
            </a:r>
          </a:p>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831" b="0" i="0" u="none" strike="noStrike" kern="1200" cap="none" spc="0" normalizeH="0" baseline="0" noProof="0" dirty="0">
                <a:ln>
                  <a:noFill/>
                </a:ln>
                <a:solidFill>
                  <a:srgbClr val="D7E0E8">
                    <a:lumMod val="10000"/>
                  </a:srgbClr>
                </a:solidFill>
                <a:effectLst/>
                <a:uLnTx/>
                <a:uFillTx/>
                <a:latin typeface="Arial"/>
                <a:ea typeface="Times New Roman" panose="02020603050405020304" pitchFamily="18" charset="0"/>
                <a:cs typeface="Arial"/>
              </a:rPr>
              <a:t>.</a:t>
            </a:r>
            <a:endParaRPr kumimoji="0" lang="en-GB" sz="831" b="0" i="0" u="none" strike="noStrike" kern="0" cap="none" spc="0" normalizeH="0" baseline="0" noProof="0" dirty="0">
              <a:ln>
                <a:noFill/>
              </a:ln>
              <a:solidFill>
                <a:srgbClr val="D7E0E8">
                  <a:lumMod val="10000"/>
                </a:srgbClr>
              </a:solidFill>
              <a:effectLst/>
              <a:uLnTx/>
              <a:uFillTx/>
              <a:latin typeface="Arial" panose="020B0604020202020204"/>
              <a:ea typeface="+mn-ea"/>
              <a:cs typeface="Arial" charset="0"/>
            </a:endParaRPr>
          </a:p>
        </p:txBody>
      </p:sp>
      <p:sp>
        <p:nvSpPr>
          <p:cNvPr id="83" name="Freeform 120"/>
          <p:cNvSpPr/>
          <p:nvPr/>
        </p:nvSpPr>
        <p:spPr>
          <a:xfrm>
            <a:off x="6091650" y="2810444"/>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86" name="Freeform 122"/>
          <p:cNvSpPr/>
          <p:nvPr/>
        </p:nvSpPr>
        <p:spPr>
          <a:xfrm flipH="1">
            <a:off x="550984" y="2849720"/>
            <a:ext cx="2473230" cy="248649"/>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87" name="Rectangle 10"/>
          <p:cNvSpPr>
            <a:spLocks noChangeArrowheads="1"/>
          </p:cNvSpPr>
          <p:nvPr/>
        </p:nvSpPr>
        <p:spPr bwMode="auto">
          <a:xfrm>
            <a:off x="562235" y="2878860"/>
            <a:ext cx="2313115" cy="59375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solidFill>
                <a:effectLst/>
                <a:uLnTx/>
                <a:uFillTx/>
                <a:latin typeface="Arial" panose="020B0604020202020204"/>
                <a:ea typeface="+mn-ea"/>
                <a:cs typeface="Arial"/>
              </a:rPr>
              <a:t>Process variations leading to inconsistent ways of working</a:t>
            </a:r>
          </a:p>
          <a:p>
            <a:pPr marL="0" marR="0" lvl="0" indent="0" algn="l" defTabSz="844083" rtl="0" eaLnBrk="1" fontAlgn="auto" latinLnBrk="0" hangingPunct="1">
              <a:lnSpc>
                <a:spcPct val="100000"/>
              </a:lnSpc>
              <a:spcBef>
                <a:spcPts val="0"/>
              </a:spcBef>
              <a:spcAft>
                <a:spcPts val="0"/>
              </a:spcAft>
              <a:buClrTx/>
              <a:buSzTx/>
              <a:buFontTx/>
              <a:buNone/>
              <a:tabLst>
                <a:tab pos="422041" algn="l"/>
              </a:tabLst>
              <a:defRPr/>
            </a:pPr>
            <a:endParaRPr kumimoji="0" lang="en-GB" sz="831" b="0" i="0" u="none" strike="noStrike" kern="1200" cap="none" spc="0" normalizeH="0" baseline="0" noProof="0" dirty="0">
              <a:ln>
                <a:noFill/>
              </a:ln>
              <a:solidFill>
                <a:srgbClr val="D7E0E8">
                  <a:lumMod val="10000"/>
                </a:srgbClr>
              </a:solidFill>
              <a:effectLst/>
              <a:uLnTx/>
              <a:uFillTx/>
              <a:latin typeface="Arial" panose="020B0604020202020204"/>
              <a:ea typeface="+mn-ea"/>
              <a:cs typeface="Arial"/>
            </a:endParaRPr>
          </a:p>
          <a:p>
            <a:pPr marL="0" marR="0" lvl="0" indent="0" algn="l" defTabSz="844083" rtl="0" eaLnBrk="1" fontAlgn="auto" latinLnBrk="0" hangingPunct="1">
              <a:lnSpc>
                <a:spcPct val="100000"/>
              </a:lnSpc>
              <a:spcBef>
                <a:spcPts val="0"/>
              </a:spcBef>
              <a:spcAft>
                <a:spcPts val="0"/>
              </a:spcAft>
              <a:buClrTx/>
              <a:buSzTx/>
              <a:buFontTx/>
              <a:buNone/>
              <a:tabLst>
                <a:tab pos="422041" algn="l"/>
              </a:tabLst>
              <a:defRPr/>
            </a:pPr>
            <a:endParaRPr kumimoji="0" lang="en-GB" sz="831" b="0" i="0" u="none" strike="noStrike" kern="1200" cap="none" spc="0" normalizeH="0" baseline="0" noProof="0" dirty="0">
              <a:ln>
                <a:noFill/>
              </a:ln>
              <a:solidFill>
                <a:srgbClr val="D7E0E8">
                  <a:lumMod val="10000"/>
                </a:srgbClr>
              </a:solidFill>
              <a:effectLst/>
              <a:uLnTx/>
              <a:uFillTx/>
              <a:latin typeface="Arial" panose="020B0604020202020204"/>
              <a:ea typeface="+mn-ea"/>
              <a:cs typeface="Arial"/>
            </a:endParaRPr>
          </a:p>
        </p:txBody>
      </p:sp>
      <p:sp>
        <p:nvSpPr>
          <p:cNvPr id="89" name="Freeform 153"/>
          <p:cNvSpPr/>
          <p:nvPr/>
        </p:nvSpPr>
        <p:spPr>
          <a:xfrm flipH="1">
            <a:off x="553187" y="1976942"/>
            <a:ext cx="3289194" cy="331297"/>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0" name="Rectangle 10"/>
          <p:cNvSpPr>
            <a:spLocks noChangeArrowheads="1"/>
          </p:cNvSpPr>
          <p:nvPr/>
        </p:nvSpPr>
        <p:spPr bwMode="auto">
          <a:xfrm>
            <a:off x="553187" y="2000807"/>
            <a:ext cx="2870886" cy="15619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solidFill>
                <a:effectLst/>
                <a:uLnTx/>
                <a:uFillTx/>
                <a:latin typeface="Arial" panose="020B0604020202020204"/>
                <a:ea typeface="+mn-ea"/>
                <a:cs typeface="Arial"/>
              </a:rPr>
              <a:t>Finance Processes are not user friendly </a:t>
            </a:r>
            <a:endParaRPr kumimoji="0" lang="en-GB" sz="1015" b="1" i="0" u="none" strike="noStrike" kern="0" cap="none" spc="0" normalizeH="0" baseline="0" noProof="0" dirty="0">
              <a:ln>
                <a:noFill/>
              </a:ln>
              <a:solidFill>
                <a:srgbClr val="40596F"/>
              </a:solidFill>
              <a:effectLst/>
              <a:uLnTx/>
              <a:uFillTx/>
              <a:latin typeface="Arial" panose="020B0604020202020204"/>
              <a:ea typeface="+mn-ea"/>
              <a:cs typeface="Arial" charset="0"/>
            </a:endParaRPr>
          </a:p>
        </p:txBody>
      </p:sp>
      <p:sp>
        <p:nvSpPr>
          <p:cNvPr id="92" name="Freeform 163"/>
          <p:cNvSpPr/>
          <p:nvPr/>
        </p:nvSpPr>
        <p:spPr>
          <a:xfrm flipH="1" flipV="1">
            <a:off x="550985" y="4991729"/>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3" name="Rectangle 10"/>
          <p:cNvSpPr>
            <a:spLocks noChangeArrowheads="1"/>
          </p:cNvSpPr>
          <p:nvPr/>
        </p:nvSpPr>
        <p:spPr bwMode="auto">
          <a:xfrm>
            <a:off x="561980" y="4754894"/>
            <a:ext cx="2188519"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lumMod val="60000"/>
                    <a:lumOff val="40000"/>
                  </a:srgbClr>
                </a:solidFill>
                <a:effectLst/>
                <a:uLnTx/>
                <a:uFillTx/>
                <a:latin typeface="Arial" panose="020B0604020202020204"/>
                <a:ea typeface="+mn-ea"/>
                <a:cs typeface="Arial"/>
              </a:rPr>
              <a:t>Budgeting / Forecasting is manual, time intensive and not aligned</a:t>
            </a:r>
          </a:p>
        </p:txBody>
      </p:sp>
      <p:sp>
        <p:nvSpPr>
          <p:cNvPr id="95" name="Freeform 186"/>
          <p:cNvSpPr/>
          <p:nvPr/>
        </p:nvSpPr>
        <p:spPr>
          <a:xfrm flipH="1" flipV="1">
            <a:off x="550985" y="5769128"/>
            <a:ext cx="3229851"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6" name="Rectangle 10"/>
          <p:cNvSpPr>
            <a:spLocks noChangeArrowheads="1"/>
          </p:cNvSpPr>
          <p:nvPr/>
        </p:nvSpPr>
        <p:spPr bwMode="auto">
          <a:xfrm>
            <a:off x="561980" y="5688346"/>
            <a:ext cx="2188519" cy="15619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rPr>
              <a:t>Manually intensive processes</a:t>
            </a:r>
          </a:p>
        </p:txBody>
      </p:sp>
      <p:sp>
        <p:nvSpPr>
          <p:cNvPr id="98" name="Freeform 189"/>
          <p:cNvSpPr/>
          <p:nvPr/>
        </p:nvSpPr>
        <p:spPr>
          <a:xfrm flipV="1">
            <a:off x="6091650" y="4885632"/>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80" name="Freeform 82"/>
          <p:cNvSpPr/>
          <p:nvPr/>
        </p:nvSpPr>
        <p:spPr>
          <a:xfrm>
            <a:off x="5409020" y="1967265"/>
            <a:ext cx="3191482"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101" name="Freeform 192"/>
          <p:cNvSpPr/>
          <p:nvPr/>
        </p:nvSpPr>
        <p:spPr>
          <a:xfrm flipV="1">
            <a:off x="5409020" y="5769128"/>
            <a:ext cx="3191482"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102" name="Rectangle 10"/>
          <p:cNvSpPr>
            <a:spLocks noChangeArrowheads="1"/>
          </p:cNvSpPr>
          <p:nvPr/>
        </p:nvSpPr>
        <p:spPr bwMode="auto">
          <a:xfrm>
            <a:off x="6297986" y="5629430"/>
            <a:ext cx="2295030"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solidFill>
                <a:effectLst/>
                <a:uLnTx/>
                <a:uFillTx/>
                <a:latin typeface="Arial" panose="020B0604020202020204"/>
                <a:ea typeface="+mn-ea"/>
                <a:cs typeface="Arial"/>
              </a:rPr>
              <a:t>Lack of process optimisation across the end to end finance user journey</a:t>
            </a:r>
            <a:r>
              <a:rPr kumimoji="0" lang="en-GB" sz="831" b="0" i="0" u="none" strike="noStrike" kern="0" cap="none" spc="0" normalizeH="0" baseline="0" noProof="0" dirty="0">
                <a:ln>
                  <a:noFill/>
                </a:ln>
                <a:solidFill>
                  <a:srgbClr val="D7E0E8">
                    <a:lumMod val="10000"/>
                  </a:srgbClr>
                </a:solidFill>
                <a:effectLst/>
                <a:uLnTx/>
                <a:uFillTx/>
                <a:latin typeface="Arial" panose="020B0604020202020204"/>
                <a:ea typeface="+mn-ea"/>
                <a:cs typeface="Arial"/>
              </a:rPr>
              <a:t>  </a:t>
            </a:r>
            <a:r>
              <a:rPr kumimoji="0" lang="en-GB" sz="1015" b="0" i="0" u="none" strike="noStrike" kern="0" cap="none" spc="0" normalizeH="0" baseline="0" noProof="0" dirty="0">
                <a:ln>
                  <a:noFill/>
                </a:ln>
                <a:solidFill>
                  <a:srgbClr val="D7E0E8">
                    <a:lumMod val="10000"/>
                  </a:srgbClr>
                </a:solidFill>
                <a:effectLst/>
                <a:uLnTx/>
                <a:uFillTx/>
                <a:latin typeface="Arial" panose="020B0604020202020204"/>
                <a:ea typeface="+mn-ea"/>
                <a:cs typeface="Arial"/>
              </a:rPr>
              <a:t> </a:t>
            </a:r>
            <a:endParaRPr kumimoji="0" lang="en-GB" sz="1015" b="0" i="0" u="none" strike="noStrike" kern="0" cap="none" spc="0" normalizeH="0" baseline="0" noProof="0" dirty="0">
              <a:ln>
                <a:noFill/>
              </a:ln>
              <a:solidFill>
                <a:srgbClr val="D7E0E8">
                  <a:lumMod val="10000"/>
                </a:srgbClr>
              </a:solidFill>
              <a:effectLst/>
              <a:uLnTx/>
              <a:uFillTx/>
              <a:latin typeface="Arial" panose="020B0604020202020204"/>
              <a:ea typeface="+mn-ea"/>
              <a:cs typeface="Arial" charset="0"/>
            </a:endParaRPr>
          </a:p>
        </p:txBody>
      </p:sp>
      <p:sp>
        <p:nvSpPr>
          <p:cNvPr id="46" name="Oval 45">
            <a:extLst>
              <a:ext uri="{FF2B5EF4-FFF2-40B4-BE49-F238E27FC236}">
                <a16:creationId xmlns:a16="http://schemas.microsoft.com/office/drawing/2014/main" id="{E4BA5AF7-B224-40C4-8A17-0E270FAF1F0D}"/>
              </a:ext>
            </a:extLst>
          </p:cNvPr>
          <p:cNvSpPr/>
          <p:nvPr/>
        </p:nvSpPr>
        <p:spPr bwMode="ltGray">
          <a:xfrm>
            <a:off x="3890514" y="3363727"/>
            <a:ext cx="1366054" cy="1338031"/>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1200" cap="none" spc="0" normalizeH="0" baseline="0" noProof="0">
                <a:ln>
                  <a:noFill/>
                </a:ln>
                <a:solidFill>
                  <a:srgbClr val="40596F"/>
                </a:solidFill>
                <a:effectLst/>
                <a:uLnTx/>
                <a:uFillTx/>
                <a:latin typeface="Arial" panose="020B0604020202020204"/>
                <a:ea typeface="+mn-ea"/>
                <a:cs typeface="+mn-cs"/>
              </a:rPr>
              <a:t>PROCESS AND PERFORMANCE</a:t>
            </a:r>
          </a:p>
        </p:txBody>
      </p:sp>
      <p:sp>
        <p:nvSpPr>
          <p:cNvPr id="47" name="Rectangle 10">
            <a:extLst>
              <a:ext uri="{FF2B5EF4-FFF2-40B4-BE49-F238E27FC236}">
                <a16:creationId xmlns:a16="http://schemas.microsoft.com/office/drawing/2014/main" id="{CA324C9D-5815-498A-B1B1-8F8B0E37EC36}"/>
              </a:ext>
            </a:extLst>
          </p:cNvPr>
          <p:cNvSpPr>
            <a:spLocks noChangeArrowheads="1"/>
          </p:cNvSpPr>
          <p:nvPr/>
        </p:nvSpPr>
        <p:spPr bwMode="auto">
          <a:xfrm>
            <a:off x="6371657" y="2849759"/>
            <a:ext cx="2221359" cy="46859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lumMod val="60000"/>
                    <a:lumOff val="40000"/>
                  </a:srgbClr>
                </a:solidFill>
                <a:effectLst/>
                <a:uLnTx/>
                <a:uFillTx/>
                <a:latin typeface="Arial" panose="020B0604020202020204"/>
                <a:ea typeface="+mn-ea"/>
                <a:cs typeface="Arial"/>
              </a:rPr>
              <a:t>Chart of Accounts structure is complex leading to risks and mistrust of information</a:t>
            </a:r>
          </a:p>
        </p:txBody>
      </p:sp>
      <p:sp>
        <p:nvSpPr>
          <p:cNvPr id="49" name="Rectangle 10">
            <a:extLst>
              <a:ext uri="{FF2B5EF4-FFF2-40B4-BE49-F238E27FC236}">
                <a16:creationId xmlns:a16="http://schemas.microsoft.com/office/drawing/2014/main" id="{C10B1E2C-CB26-4CE0-B603-BA5FACBA60FA}"/>
              </a:ext>
            </a:extLst>
          </p:cNvPr>
          <p:cNvSpPr>
            <a:spLocks noChangeArrowheads="1"/>
          </p:cNvSpPr>
          <p:nvPr/>
        </p:nvSpPr>
        <p:spPr bwMode="auto">
          <a:xfrm>
            <a:off x="6348854" y="4690929"/>
            <a:ext cx="2243826"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solidFill>
                <a:effectLst/>
                <a:uLnTx/>
                <a:uFillTx/>
                <a:latin typeface="Arial" panose="020B0604020202020204"/>
                <a:ea typeface="+mn-ea"/>
                <a:cs typeface="Arial"/>
              </a:rPr>
              <a:t>Chart of Accounts mapping can be difficult to analyse</a:t>
            </a:r>
            <a:r>
              <a:rPr kumimoji="0" lang="en-GB" sz="831" b="0" i="0" u="none" strike="noStrike" kern="1200" cap="none" spc="0" normalizeH="0" baseline="0" noProof="0" dirty="0">
                <a:ln>
                  <a:noFill/>
                </a:ln>
                <a:solidFill>
                  <a:srgbClr val="D7E0E8">
                    <a:lumMod val="10000"/>
                  </a:srgbClr>
                </a:solidFill>
                <a:effectLst/>
                <a:uLnTx/>
                <a:uFillTx/>
                <a:latin typeface="Arial"/>
                <a:ea typeface="Times New Roman" panose="02020603050405020304" pitchFamily="18" charset="0"/>
                <a:cs typeface="Arial"/>
              </a:rPr>
              <a:t>. </a:t>
            </a:r>
            <a:endParaRPr kumimoji="0" lang="en-GB" sz="831" b="0" i="0" u="none" strike="noStrike" kern="1200" cap="none" spc="0" normalizeH="0" baseline="0" noProof="0" dirty="0">
              <a:ln>
                <a:noFill/>
              </a:ln>
              <a:solidFill>
                <a:srgbClr val="D7E0E8">
                  <a:lumMod val="10000"/>
                </a:srgbClr>
              </a:solidFill>
              <a:effectLst/>
              <a:uLnTx/>
              <a:uFillTx/>
              <a:latin typeface="Arial" panose="020B0604020202020204"/>
              <a:ea typeface="+mn-ea"/>
              <a:cs typeface="Arial" charset="0"/>
            </a:endParaRPr>
          </a:p>
        </p:txBody>
      </p:sp>
      <p:sp>
        <p:nvSpPr>
          <p:cNvPr id="67" name="Oval 66"/>
          <p:cNvSpPr/>
          <p:nvPr/>
        </p:nvSpPr>
        <p:spPr bwMode="ltGray">
          <a:xfrm>
            <a:off x="2974414" y="3195919"/>
            <a:ext cx="795456" cy="770992"/>
          </a:xfrm>
          <a:prstGeom prst="ellipse">
            <a:avLst/>
          </a:prstGeom>
          <a:solidFill>
            <a:srgbClr val="FFFFFF"/>
          </a:solidFill>
          <a:ln w="44450" cap="flat" cmpd="sng" algn="ctr">
            <a:solidFill>
              <a:schemeClr val="accent1">
                <a:lumMod val="75000"/>
              </a:schemeClr>
            </a:solidFill>
            <a:prstDash val="solid"/>
            <a:miter lim="800000"/>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r>
              <a:rPr kumimoji="0" lang="en-GB" sz="738" b="1" i="0" u="none" strike="noStrike" kern="0" cap="none" spc="0" normalizeH="0" baseline="0" noProof="0" dirty="0">
                <a:ln>
                  <a:noFill/>
                </a:ln>
                <a:solidFill>
                  <a:srgbClr val="5D717F"/>
                </a:solidFill>
                <a:effectLst/>
                <a:uLnTx/>
                <a:uFillTx/>
                <a:latin typeface="Arial" panose="020B0604020202020204"/>
                <a:ea typeface="+mn-ea"/>
                <a:cs typeface="Arial"/>
              </a:rPr>
              <a:t>Process variations</a:t>
            </a:r>
          </a:p>
        </p:txBody>
      </p:sp>
      <p:sp>
        <p:nvSpPr>
          <p:cNvPr id="68" name="Oval 67"/>
          <p:cNvSpPr/>
          <p:nvPr/>
        </p:nvSpPr>
        <p:spPr bwMode="ltGray">
          <a:xfrm>
            <a:off x="5423538" y="4060668"/>
            <a:ext cx="795456" cy="770992"/>
          </a:xfrm>
          <a:prstGeom prst="ellipse">
            <a:avLst/>
          </a:prstGeom>
          <a:solidFill>
            <a:srgbClr val="FFFFFF"/>
          </a:solidFill>
          <a:ln w="44450" cap="flat" cmpd="sng" algn="ctr">
            <a:solidFill>
              <a:schemeClr val="accent1">
                <a:lumMod val="75000"/>
              </a:schemeClr>
            </a:solidFill>
            <a:prstDash val="solid"/>
            <a:miter lim="800000"/>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r>
              <a:rPr kumimoji="0" lang="en-GB" sz="738" b="1" i="0" u="none" strike="noStrike" kern="0" cap="none" spc="0" normalizeH="0" baseline="0" noProof="0" dirty="0" smtClean="0">
                <a:ln>
                  <a:noFill/>
                </a:ln>
                <a:solidFill>
                  <a:srgbClr val="5D717F"/>
                </a:solidFill>
                <a:effectLst/>
                <a:uLnTx/>
                <a:uFillTx/>
                <a:latin typeface="Arial" panose="020B0604020202020204"/>
                <a:ea typeface="+mn-ea"/>
                <a:cs typeface="Arial"/>
              </a:rPr>
              <a:t>Reporting </a:t>
            </a:r>
            <a:endParaRPr kumimoji="0" lang="en-GB" sz="738" b="1" i="0" u="none" strike="noStrike" kern="0" cap="none" spc="0" normalizeH="0" baseline="0" noProof="0" dirty="0">
              <a:ln>
                <a:noFill/>
              </a:ln>
              <a:solidFill>
                <a:srgbClr val="5D717F"/>
              </a:solidFill>
              <a:effectLst/>
              <a:uLnTx/>
              <a:uFillTx/>
              <a:latin typeface="Arial" panose="020B0604020202020204"/>
              <a:ea typeface="+mn-ea"/>
              <a:cs typeface="Arial"/>
            </a:endParaRPr>
          </a:p>
        </p:txBody>
      </p:sp>
    </p:spTree>
    <p:custDataLst>
      <p:tags r:id="rId1"/>
    </p:custDataLst>
    <p:extLst>
      <p:ext uri="{BB962C8B-B14F-4D97-AF65-F5344CB8AC3E}">
        <p14:creationId xmlns:p14="http://schemas.microsoft.com/office/powerpoint/2010/main" val="1358779680"/>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a:xfrm>
            <a:off x="553182" y="805488"/>
            <a:ext cx="8038523" cy="478324"/>
          </a:xfrm>
        </p:spPr>
        <p:txBody>
          <a:bodyPr/>
          <a:lstStyle/>
          <a:p>
            <a:r>
              <a:rPr lang="en-GB" sz="2215" dirty="0"/>
              <a:t>FINDINGS FROM analysis (2)</a:t>
            </a:r>
          </a:p>
        </p:txBody>
      </p:sp>
      <p:grpSp>
        <p:nvGrpSpPr>
          <p:cNvPr id="48" name="Group 52"/>
          <p:cNvGrpSpPr>
            <a:grpSpLocks noChangeAspect="1"/>
          </p:cNvGrpSpPr>
          <p:nvPr/>
        </p:nvGrpSpPr>
        <p:grpSpPr bwMode="auto">
          <a:xfrm>
            <a:off x="3206312" y="2666079"/>
            <a:ext cx="2725311" cy="2740974"/>
            <a:chOff x="4230" y="2242"/>
            <a:chExt cx="1044" cy="1050"/>
          </a:xfrm>
        </p:grpSpPr>
        <p:sp>
          <p:nvSpPr>
            <p:cNvPr id="71" name="Freeform 53"/>
            <p:cNvSpPr>
              <a:spLocks/>
            </p:cNvSpPr>
            <p:nvPr/>
          </p:nvSpPr>
          <p:spPr bwMode="auto">
            <a:xfrm>
              <a:off x="4752" y="2242"/>
              <a:ext cx="370" cy="525"/>
            </a:xfrm>
            <a:custGeom>
              <a:avLst/>
              <a:gdLst/>
              <a:ahLst/>
              <a:cxnLst>
                <a:cxn ang="0">
                  <a:pos x="988" y="413"/>
                </a:cxn>
                <a:cxn ang="0">
                  <a:pos x="0" y="0"/>
                </a:cxn>
                <a:cxn ang="0">
                  <a:pos x="0" y="1400"/>
                </a:cxn>
                <a:cxn ang="0">
                  <a:pos x="988" y="413"/>
                </a:cxn>
              </a:cxnLst>
              <a:rect l="0" t="0" r="r" b="b"/>
              <a:pathLst>
                <a:path w="988" h="1400">
                  <a:moveTo>
                    <a:pt x="988" y="413"/>
                  </a:moveTo>
                  <a:cubicBezTo>
                    <a:pt x="726" y="149"/>
                    <a:pt x="371" y="0"/>
                    <a:pt x="0" y="0"/>
                  </a:cubicBezTo>
                  <a:lnTo>
                    <a:pt x="0" y="1400"/>
                  </a:lnTo>
                  <a:lnTo>
                    <a:pt x="988" y="413"/>
                  </a:lnTo>
                  <a:close/>
                </a:path>
              </a:pathLst>
            </a:custGeom>
            <a:solidFill>
              <a:schemeClr val="accent5">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2" name="Freeform 54"/>
            <p:cNvSpPr>
              <a:spLocks/>
            </p:cNvSpPr>
            <p:nvPr/>
          </p:nvSpPr>
          <p:spPr bwMode="auto">
            <a:xfrm>
              <a:off x="4752" y="2397"/>
              <a:ext cx="522" cy="370"/>
            </a:xfrm>
            <a:custGeom>
              <a:avLst/>
              <a:gdLst/>
              <a:ahLst/>
              <a:cxnLst>
                <a:cxn ang="0">
                  <a:pos x="1392" y="987"/>
                </a:cxn>
                <a:cxn ang="0">
                  <a:pos x="988" y="0"/>
                </a:cxn>
                <a:cxn ang="0">
                  <a:pos x="0" y="987"/>
                </a:cxn>
                <a:cxn ang="0">
                  <a:pos x="1392" y="987"/>
                </a:cxn>
              </a:cxnLst>
              <a:rect l="0" t="0" r="r" b="b"/>
              <a:pathLst>
                <a:path w="1392" h="987">
                  <a:moveTo>
                    <a:pt x="1392" y="987"/>
                  </a:moveTo>
                  <a:cubicBezTo>
                    <a:pt x="1392" y="618"/>
                    <a:pt x="1247" y="263"/>
                    <a:pt x="988" y="0"/>
                  </a:cubicBezTo>
                  <a:lnTo>
                    <a:pt x="0" y="987"/>
                  </a:lnTo>
                  <a:lnTo>
                    <a:pt x="1392" y="987"/>
                  </a:lnTo>
                  <a:close/>
                </a:path>
              </a:pathLst>
            </a:custGeom>
            <a:solidFill>
              <a:schemeClr val="accent4">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3" name="Freeform 55"/>
            <p:cNvSpPr>
              <a:spLocks/>
            </p:cNvSpPr>
            <p:nvPr/>
          </p:nvSpPr>
          <p:spPr bwMode="auto">
            <a:xfrm>
              <a:off x="4752" y="2767"/>
              <a:ext cx="522" cy="370"/>
            </a:xfrm>
            <a:custGeom>
              <a:avLst/>
              <a:gdLst/>
              <a:ahLst/>
              <a:cxnLst>
                <a:cxn ang="0">
                  <a:pos x="988" y="988"/>
                </a:cxn>
                <a:cxn ang="0">
                  <a:pos x="1392" y="0"/>
                </a:cxn>
                <a:cxn ang="0">
                  <a:pos x="0" y="0"/>
                </a:cxn>
                <a:cxn ang="0">
                  <a:pos x="988" y="988"/>
                </a:cxn>
              </a:cxnLst>
              <a:rect l="0" t="0" r="r" b="b"/>
              <a:pathLst>
                <a:path w="1392" h="988">
                  <a:moveTo>
                    <a:pt x="988" y="988"/>
                  </a:moveTo>
                  <a:cubicBezTo>
                    <a:pt x="1247" y="725"/>
                    <a:pt x="1392" y="370"/>
                    <a:pt x="1392" y="0"/>
                  </a:cubicBezTo>
                  <a:lnTo>
                    <a:pt x="0" y="0"/>
                  </a:lnTo>
                  <a:lnTo>
                    <a:pt x="988" y="988"/>
                  </a:lnTo>
                  <a:close/>
                </a:path>
              </a:pathLst>
            </a:custGeom>
            <a:solidFill>
              <a:schemeClr val="accent3">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4" name="Freeform 56"/>
            <p:cNvSpPr>
              <a:spLocks/>
            </p:cNvSpPr>
            <p:nvPr/>
          </p:nvSpPr>
          <p:spPr bwMode="auto">
            <a:xfrm>
              <a:off x="4752" y="2767"/>
              <a:ext cx="370" cy="525"/>
            </a:xfrm>
            <a:custGeom>
              <a:avLst/>
              <a:gdLst/>
              <a:ahLst/>
              <a:cxnLst>
                <a:cxn ang="0">
                  <a:pos x="0" y="1400"/>
                </a:cxn>
                <a:cxn ang="0">
                  <a:pos x="988" y="988"/>
                </a:cxn>
                <a:cxn ang="0">
                  <a:pos x="0" y="0"/>
                </a:cxn>
                <a:cxn ang="0">
                  <a:pos x="0" y="1400"/>
                </a:cxn>
              </a:cxnLst>
              <a:rect l="0" t="0" r="r" b="b"/>
              <a:pathLst>
                <a:path w="988" h="1400">
                  <a:moveTo>
                    <a:pt x="0" y="1400"/>
                  </a:moveTo>
                  <a:cubicBezTo>
                    <a:pt x="371" y="1400"/>
                    <a:pt x="726" y="1252"/>
                    <a:pt x="988" y="988"/>
                  </a:cubicBezTo>
                  <a:lnTo>
                    <a:pt x="0" y="0"/>
                  </a:lnTo>
                  <a:lnTo>
                    <a:pt x="0" y="1400"/>
                  </a:lnTo>
                  <a:close/>
                </a:path>
              </a:pathLst>
            </a:custGeom>
            <a:solidFill>
              <a:schemeClr val="accent1">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5" name="Freeform 57"/>
            <p:cNvSpPr>
              <a:spLocks/>
            </p:cNvSpPr>
            <p:nvPr/>
          </p:nvSpPr>
          <p:spPr bwMode="auto">
            <a:xfrm>
              <a:off x="4382" y="2767"/>
              <a:ext cx="370" cy="525"/>
            </a:xfrm>
            <a:custGeom>
              <a:avLst/>
              <a:gdLst/>
              <a:ahLst/>
              <a:cxnLst>
                <a:cxn ang="0">
                  <a:pos x="0" y="988"/>
                </a:cxn>
                <a:cxn ang="0">
                  <a:pos x="987" y="1400"/>
                </a:cxn>
                <a:cxn ang="0">
                  <a:pos x="987" y="0"/>
                </a:cxn>
                <a:cxn ang="0">
                  <a:pos x="0" y="988"/>
                </a:cxn>
              </a:cxnLst>
              <a:rect l="0" t="0" r="r" b="b"/>
              <a:pathLst>
                <a:path w="987" h="1400">
                  <a:moveTo>
                    <a:pt x="0" y="988"/>
                  </a:moveTo>
                  <a:cubicBezTo>
                    <a:pt x="262" y="1252"/>
                    <a:pt x="617" y="1400"/>
                    <a:pt x="987" y="1400"/>
                  </a:cubicBezTo>
                  <a:lnTo>
                    <a:pt x="987" y="0"/>
                  </a:lnTo>
                  <a:lnTo>
                    <a:pt x="0" y="988"/>
                  </a:lnTo>
                  <a:close/>
                </a:path>
              </a:pathLst>
            </a:custGeom>
            <a:solidFill>
              <a:schemeClr val="accent5">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6" name="Freeform 58"/>
            <p:cNvSpPr>
              <a:spLocks/>
            </p:cNvSpPr>
            <p:nvPr/>
          </p:nvSpPr>
          <p:spPr bwMode="auto">
            <a:xfrm>
              <a:off x="4230" y="2767"/>
              <a:ext cx="522" cy="370"/>
            </a:xfrm>
            <a:custGeom>
              <a:avLst/>
              <a:gdLst/>
              <a:ahLst/>
              <a:cxnLst>
                <a:cxn ang="0">
                  <a:pos x="0" y="0"/>
                </a:cxn>
                <a:cxn ang="0">
                  <a:pos x="405" y="988"/>
                </a:cxn>
                <a:cxn ang="0">
                  <a:pos x="1392" y="0"/>
                </a:cxn>
                <a:cxn ang="0">
                  <a:pos x="0" y="0"/>
                </a:cxn>
              </a:cxnLst>
              <a:rect l="0" t="0" r="r" b="b"/>
              <a:pathLst>
                <a:path w="1392" h="988">
                  <a:moveTo>
                    <a:pt x="0" y="0"/>
                  </a:moveTo>
                  <a:cubicBezTo>
                    <a:pt x="0" y="370"/>
                    <a:pt x="146" y="725"/>
                    <a:pt x="405" y="988"/>
                  </a:cubicBezTo>
                  <a:lnTo>
                    <a:pt x="1392" y="0"/>
                  </a:lnTo>
                  <a:lnTo>
                    <a:pt x="0" y="0"/>
                  </a:lnTo>
                  <a:close/>
                </a:path>
              </a:pathLst>
            </a:custGeom>
            <a:solidFill>
              <a:schemeClr val="accent4">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8" name="Freeform 60"/>
            <p:cNvSpPr>
              <a:spLocks/>
            </p:cNvSpPr>
            <p:nvPr/>
          </p:nvSpPr>
          <p:spPr bwMode="auto">
            <a:xfrm>
              <a:off x="4382" y="2242"/>
              <a:ext cx="370" cy="525"/>
            </a:xfrm>
            <a:custGeom>
              <a:avLst/>
              <a:gdLst/>
              <a:ahLst/>
              <a:cxnLst>
                <a:cxn ang="0">
                  <a:pos x="987" y="0"/>
                </a:cxn>
                <a:cxn ang="0">
                  <a:pos x="0" y="413"/>
                </a:cxn>
                <a:cxn ang="0">
                  <a:pos x="987" y="1400"/>
                </a:cxn>
                <a:cxn ang="0">
                  <a:pos x="987" y="0"/>
                </a:cxn>
              </a:cxnLst>
              <a:rect l="0" t="0" r="r" b="b"/>
              <a:pathLst>
                <a:path w="987" h="1400">
                  <a:moveTo>
                    <a:pt x="987" y="0"/>
                  </a:moveTo>
                  <a:cubicBezTo>
                    <a:pt x="617" y="0"/>
                    <a:pt x="262" y="149"/>
                    <a:pt x="0" y="413"/>
                  </a:cubicBezTo>
                  <a:lnTo>
                    <a:pt x="987" y="1400"/>
                  </a:lnTo>
                  <a:lnTo>
                    <a:pt x="987" y="0"/>
                  </a:lnTo>
                  <a:close/>
                </a:path>
              </a:pathLst>
            </a:custGeom>
            <a:solidFill>
              <a:schemeClr val="accent1">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77" name="Freeform 59"/>
            <p:cNvSpPr>
              <a:spLocks/>
            </p:cNvSpPr>
            <p:nvPr/>
          </p:nvSpPr>
          <p:spPr bwMode="auto">
            <a:xfrm>
              <a:off x="4230" y="2397"/>
              <a:ext cx="522" cy="370"/>
            </a:xfrm>
            <a:custGeom>
              <a:avLst/>
              <a:gdLst/>
              <a:ahLst/>
              <a:cxnLst>
                <a:cxn ang="0">
                  <a:pos x="405" y="0"/>
                </a:cxn>
                <a:cxn ang="0">
                  <a:pos x="0" y="987"/>
                </a:cxn>
                <a:cxn ang="0">
                  <a:pos x="1392" y="987"/>
                </a:cxn>
                <a:cxn ang="0">
                  <a:pos x="405" y="0"/>
                </a:cxn>
              </a:cxnLst>
              <a:rect l="0" t="0" r="r" b="b"/>
              <a:pathLst>
                <a:path w="1392" h="987">
                  <a:moveTo>
                    <a:pt x="405" y="0"/>
                  </a:moveTo>
                  <a:cubicBezTo>
                    <a:pt x="146" y="263"/>
                    <a:pt x="0" y="618"/>
                    <a:pt x="0" y="987"/>
                  </a:cubicBezTo>
                  <a:lnTo>
                    <a:pt x="1392" y="987"/>
                  </a:lnTo>
                  <a:lnTo>
                    <a:pt x="405" y="0"/>
                  </a:lnTo>
                  <a:close/>
                </a:path>
              </a:pathLst>
            </a:custGeom>
            <a:solidFill>
              <a:schemeClr val="accent3">
                <a:alpha val="50000"/>
              </a:schemeClr>
            </a:solidFill>
            <a:ln w="152400">
              <a:solidFill>
                <a:schemeClr val="tx2"/>
              </a:solidFill>
              <a:prstDash val="solid"/>
              <a:round/>
              <a:headEnd/>
              <a:tailEnd/>
            </a:ln>
          </p:spPr>
          <p:txBody>
            <a:bodyPr vert="horz" wrap="square" lIns="84406" tIns="42203" rIns="84406" bIns="42203" numCol="1" anchor="t" anchorCtr="0" compatLnSpc="1">
              <a:prstTxWarp prst="textNoShape">
                <a:avLst/>
              </a:prstTxWarp>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grpSp>
      <p:sp>
        <p:nvSpPr>
          <p:cNvPr id="50" name="Oval 49"/>
          <p:cNvSpPr/>
          <p:nvPr/>
        </p:nvSpPr>
        <p:spPr bwMode="ltGray">
          <a:xfrm>
            <a:off x="2834354" y="4095681"/>
            <a:ext cx="925191" cy="925191"/>
          </a:xfrm>
          <a:prstGeom prst="ellipse">
            <a:avLst/>
          </a:prstGeom>
          <a:solidFill>
            <a:schemeClr val="accent4"/>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2" name="Oval 51"/>
          <p:cNvSpPr/>
          <p:nvPr/>
        </p:nvSpPr>
        <p:spPr bwMode="ltGray">
          <a:xfrm>
            <a:off x="5372794" y="4095681"/>
            <a:ext cx="925191" cy="925191"/>
          </a:xfrm>
          <a:prstGeom prst="ellipse">
            <a:avLst/>
          </a:prstGeom>
          <a:solidFill>
            <a:schemeClr val="accent3"/>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3" name="Oval 52"/>
          <p:cNvSpPr/>
          <p:nvPr/>
        </p:nvSpPr>
        <p:spPr bwMode="ltGray">
          <a:xfrm>
            <a:off x="5372794" y="3053088"/>
            <a:ext cx="925191" cy="925191"/>
          </a:xfrm>
          <a:prstGeom prst="ellipse">
            <a:avLst/>
          </a:prstGeom>
          <a:solidFill>
            <a:schemeClr val="accent4"/>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4" name="Oval 53"/>
          <p:cNvSpPr/>
          <p:nvPr/>
        </p:nvSpPr>
        <p:spPr bwMode="ltGray">
          <a:xfrm>
            <a:off x="4635473" y="2257173"/>
            <a:ext cx="925191" cy="925191"/>
          </a:xfrm>
          <a:prstGeom prst="ellipse">
            <a:avLst/>
          </a:prstGeom>
          <a:solidFill>
            <a:schemeClr val="accent5"/>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5" name="Oval 54"/>
          <p:cNvSpPr/>
          <p:nvPr/>
        </p:nvSpPr>
        <p:spPr bwMode="ltGray">
          <a:xfrm>
            <a:off x="3571574" y="2257173"/>
            <a:ext cx="925191" cy="925191"/>
          </a:xfrm>
          <a:prstGeom prst="ellipse">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6" name="Oval 55"/>
          <p:cNvSpPr/>
          <p:nvPr/>
        </p:nvSpPr>
        <p:spPr bwMode="ltGray">
          <a:xfrm>
            <a:off x="4635473" y="4862773"/>
            <a:ext cx="925191" cy="925191"/>
          </a:xfrm>
          <a:prstGeom prst="ellipse">
            <a:avLst/>
          </a:prstGeom>
          <a:solidFill>
            <a:schemeClr val="accent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7" name="Oval 56"/>
          <p:cNvSpPr/>
          <p:nvPr/>
        </p:nvSpPr>
        <p:spPr bwMode="ltGray">
          <a:xfrm>
            <a:off x="3571574" y="4862773"/>
            <a:ext cx="925191" cy="925191"/>
          </a:xfrm>
          <a:prstGeom prst="ellipse">
            <a:avLst/>
          </a:prstGeom>
          <a:solidFill>
            <a:schemeClr val="accent5"/>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err="1">
              <a:ln>
                <a:noFill/>
              </a:ln>
              <a:solidFill>
                <a:srgbClr val="FFFFFF"/>
              </a:solidFill>
              <a:effectLst/>
              <a:uLnTx/>
              <a:uFillTx/>
              <a:latin typeface="Arial" panose="020B0604020202020204"/>
              <a:ea typeface="+mn-ea"/>
              <a:cs typeface="+mn-cs"/>
            </a:endParaRPr>
          </a:p>
        </p:txBody>
      </p:sp>
      <p:sp>
        <p:nvSpPr>
          <p:cNvPr id="59" name="Oval 58"/>
          <p:cNvSpPr/>
          <p:nvPr/>
        </p:nvSpPr>
        <p:spPr bwMode="ltGray">
          <a:xfrm>
            <a:off x="5449894" y="3130188"/>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Complex Systems</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Landscape</a:t>
            </a:r>
          </a:p>
        </p:txBody>
      </p:sp>
      <p:sp>
        <p:nvSpPr>
          <p:cNvPr id="60" name="Oval 59"/>
          <p:cNvSpPr/>
          <p:nvPr/>
        </p:nvSpPr>
        <p:spPr bwMode="ltGray">
          <a:xfrm>
            <a:off x="2911454" y="4172782"/>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Best Practice</a:t>
            </a:r>
          </a:p>
        </p:txBody>
      </p:sp>
      <p:sp>
        <p:nvSpPr>
          <p:cNvPr id="61" name="Oval 60"/>
          <p:cNvSpPr/>
          <p:nvPr/>
        </p:nvSpPr>
        <p:spPr bwMode="ltGray">
          <a:xfrm>
            <a:off x="5449894" y="4172782"/>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dirty="0">
                <a:ln>
                  <a:noFill/>
                </a:ln>
                <a:solidFill>
                  <a:srgbClr val="5D717F"/>
                </a:solidFill>
                <a:effectLst/>
                <a:uLnTx/>
                <a:uFillTx/>
                <a:latin typeface="Arial" panose="020B0604020202020204"/>
                <a:ea typeface="+mn-ea"/>
                <a:cs typeface="Arial"/>
              </a:rPr>
              <a:t>Complex </a:t>
            </a:r>
            <a:endParaRPr kumimoji="0" lang="en-US" sz="1662" b="0" i="0" u="none" strike="noStrike" kern="1200" cap="none" spc="0" normalizeH="0" baseline="0" noProof="0" dirty="0">
              <a:ln>
                <a:noFill/>
              </a:ln>
              <a:solidFill>
                <a:srgbClr val="5D717F"/>
              </a:solidFill>
              <a:effectLst/>
              <a:uLnTx/>
              <a:uFillTx/>
              <a:latin typeface="Arial" panose="020B0604020202020204"/>
              <a:ea typeface="+mn-ea"/>
              <a:cs typeface="+mn-cs"/>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dirty="0">
                <a:ln>
                  <a:noFill/>
                </a:ln>
                <a:solidFill>
                  <a:srgbClr val="5D717F"/>
                </a:solidFill>
                <a:effectLst/>
                <a:uLnTx/>
                <a:uFillTx/>
                <a:latin typeface="Arial" panose="020B0604020202020204"/>
                <a:ea typeface="+mn-ea"/>
                <a:cs typeface="Arial"/>
              </a:rPr>
              <a:t>Reporting </a:t>
            </a:r>
            <a:endParaRPr kumimoji="0" lang="en-GB" sz="1662" b="0" i="0" u="none" strike="noStrike" kern="1200" cap="none" spc="0" normalizeH="0" baseline="0" noProof="0" dirty="0">
              <a:ln>
                <a:noFill/>
              </a:ln>
              <a:solidFill>
                <a:srgbClr val="5D717F"/>
              </a:solidFill>
              <a:effectLst/>
              <a:uLnTx/>
              <a:uFillTx/>
              <a:latin typeface="Arial" panose="020B0604020202020204"/>
              <a:ea typeface="+mn-ea"/>
              <a:cs typeface="Arial"/>
            </a:endParaRP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dirty="0">
                <a:ln>
                  <a:noFill/>
                </a:ln>
                <a:solidFill>
                  <a:srgbClr val="5D717F"/>
                </a:solidFill>
                <a:effectLst/>
                <a:uLnTx/>
                <a:uFillTx/>
                <a:latin typeface="Arial" panose="020B0604020202020204"/>
                <a:ea typeface="+mn-ea"/>
                <a:cs typeface="Arial"/>
              </a:rPr>
              <a:t>Process</a:t>
            </a:r>
            <a:endParaRPr kumimoji="0" lang="en-GB" sz="1662" b="0" i="0" u="none" strike="noStrike" kern="1200" cap="none" spc="0" normalizeH="0" baseline="0" noProof="0" dirty="0">
              <a:ln>
                <a:noFill/>
              </a:ln>
              <a:solidFill>
                <a:srgbClr val="5D717F"/>
              </a:solidFill>
              <a:effectLst/>
              <a:uLnTx/>
              <a:uFillTx/>
              <a:latin typeface="Arial" panose="020B0604020202020204"/>
              <a:ea typeface="+mn-ea"/>
              <a:cs typeface="Arial"/>
            </a:endParaRPr>
          </a:p>
        </p:txBody>
      </p:sp>
      <p:sp>
        <p:nvSpPr>
          <p:cNvPr id="62" name="Oval 61"/>
          <p:cNvSpPr/>
          <p:nvPr/>
        </p:nvSpPr>
        <p:spPr bwMode="ltGray">
          <a:xfrm>
            <a:off x="3648674" y="4939873"/>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Complex decision making</a:t>
            </a:r>
          </a:p>
        </p:txBody>
      </p:sp>
      <p:sp>
        <p:nvSpPr>
          <p:cNvPr id="63" name="Oval 62"/>
          <p:cNvSpPr/>
          <p:nvPr/>
        </p:nvSpPr>
        <p:spPr bwMode="ltGray">
          <a:xfrm>
            <a:off x="4712574" y="4939873"/>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Opaque Finance Activities</a:t>
            </a:r>
          </a:p>
        </p:txBody>
      </p:sp>
      <p:sp>
        <p:nvSpPr>
          <p:cNvPr id="64" name="Oval 63"/>
          <p:cNvSpPr/>
          <p:nvPr/>
        </p:nvSpPr>
        <p:spPr bwMode="ltGray">
          <a:xfrm>
            <a:off x="3648674" y="2334274"/>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Finance Knowledge</a:t>
            </a:r>
            <a:endParaRPr kumimoji="0" lang="en-GB" sz="738" b="1"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65" name="Oval 64"/>
          <p:cNvSpPr/>
          <p:nvPr/>
        </p:nvSpPr>
        <p:spPr bwMode="ltGray">
          <a:xfrm>
            <a:off x="4712574" y="2339596"/>
            <a:ext cx="763098" cy="75702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Operational Resilience</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none" strike="noStrike" kern="1200" cap="none" spc="0" normalizeH="0" baseline="0" noProof="0">
                <a:ln>
                  <a:noFill/>
                </a:ln>
                <a:solidFill>
                  <a:srgbClr val="5D717F"/>
                </a:solidFill>
                <a:effectLst/>
                <a:uLnTx/>
                <a:uFillTx/>
                <a:latin typeface="Arial" panose="020B0604020202020204"/>
                <a:ea typeface="+mn-ea"/>
                <a:cs typeface="Arial"/>
              </a:rPr>
              <a:t>Risks</a:t>
            </a:r>
          </a:p>
        </p:txBody>
      </p:sp>
      <p:sp>
        <p:nvSpPr>
          <p:cNvPr id="66" name="Oval 65"/>
          <p:cNvSpPr/>
          <p:nvPr/>
        </p:nvSpPr>
        <p:spPr bwMode="ltGray">
          <a:xfrm>
            <a:off x="3842522" y="3298450"/>
            <a:ext cx="1468587" cy="1468587"/>
          </a:xfrm>
          <a:prstGeom prst="ellipse">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477" b="0" i="0" u="none" strike="noStrike" kern="1200" cap="none" spc="0" normalizeH="0" baseline="0" noProof="0">
              <a:ln>
                <a:noFill/>
              </a:ln>
              <a:solidFill>
                <a:srgbClr val="968C6D"/>
              </a:solidFill>
              <a:effectLst/>
              <a:uLnTx/>
              <a:uFillTx/>
              <a:latin typeface="Arial" panose="020B0604020202020204"/>
              <a:ea typeface="+mn-ea"/>
              <a:cs typeface="+mn-cs"/>
            </a:endParaRPr>
          </a:p>
        </p:txBody>
      </p:sp>
      <p:sp>
        <p:nvSpPr>
          <p:cNvPr id="70" name="Oval 69"/>
          <p:cNvSpPr/>
          <p:nvPr/>
        </p:nvSpPr>
        <p:spPr bwMode="ltGray">
          <a:xfrm>
            <a:off x="3883214" y="3363727"/>
            <a:ext cx="1383070" cy="1338031"/>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1200" cap="none" spc="0" normalizeH="0" baseline="0" noProof="0">
                <a:ln>
                  <a:noFill/>
                </a:ln>
                <a:solidFill>
                  <a:srgbClr val="40596F"/>
                </a:solidFill>
                <a:effectLst/>
                <a:uLnTx/>
                <a:uFillTx/>
                <a:latin typeface="Arial" panose="020B0604020202020204"/>
                <a:ea typeface="+mn-lt"/>
                <a:cs typeface="Arial" panose="020B0604020202020204"/>
              </a:rPr>
              <a:t>TECHNOLOGY, TOOLS, PEOPLE AND ORGANISATION</a:t>
            </a:r>
          </a:p>
        </p:txBody>
      </p:sp>
      <p:sp>
        <p:nvSpPr>
          <p:cNvPr id="81" name="Rectangle 10"/>
          <p:cNvSpPr>
            <a:spLocks noChangeArrowheads="1"/>
          </p:cNvSpPr>
          <p:nvPr/>
        </p:nvSpPr>
        <p:spPr bwMode="auto">
          <a:xfrm>
            <a:off x="6191101" y="2130788"/>
            <a:ext cx="2388370" cy="31239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rPr>
              <a:t>Key Person Dependency posing operational resiliency risks</a:t>
            </a:r>
            <a:endParaRPr kumimoji="0" lang="en-GB" sz="1015" b="0"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endParaRPr>
          </a:p>
        </p:txBody>
      </p:sp>
      <p:sp>
        <p:nvSpPr>
          <p:cNvPr id="83" name="Freeform 120"/>
          <p:cNvSpPr/>
          <p:nvPr/>
        </p:nvSpPr>
        <p:spPr>
          <a:xfrm>
            <a:off x="6091650" y="2916542"/>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84" name="Rectangle 10"/>
          <p:cNvSpPr>
            <a:spLocks noChangeArrowheads="1"/>
          </p:cNvSpPr>
          <p:nvPr/>
        </p:nvSpPr>
        <p:spPr bwMode="auto">
          <a:xfrm>
            <a:off x="6375085" y="3007951"/>
            <a:ext cx="2299143" cy="468590"/>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lumMod val="60000"/>
                    <a:lumOff val="40000"/>
                  </a:srgbClr>
                </a:solidFill>
                <a:effectLst/>
                <a:uLnTx/>
                <a:uFillTx/>
                <a:latin typeface="Arial" panose="020B0604020202020204"/>
                <a:ea typeface="+mn-ea"/>
                <a:cs typeface="Arial"/>
              </a:rPr>
              <a:t>Multiple financial systems which are not integrated and cause duplication of effort</a:t>
            </a:r>
          </a:p>
        </p:txBody>
      </p:sp>
      <p:sp>
        <p:nvSpPr>
          <p:cNvPr id="86" name="Freeform 122"/>
          <p:cNvSpPr/>
          <p:nvPr/>
        </p:nvSpPr>
        <p:spPr>
          <a:xfrm flipH="1">
            <a:off x="550985" y="2916542"/>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87" name="Rectangle 10"/>
          <p:cNvSpPr>
            <a:spLocks noChangeArrowheads="1"/>
          </p:cNvSpPr>
          <p:nvPr/>
        </p:nvSpPr>
        <p:spPr bwMode="auto">
          <a:xfrm>
            <a:off x="561979" y="2946970"/>
            <a:ext cx="2247545" cy="624786"/>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solidFill>
                <a:effectLst/>
                <a:uLnTx/>
                <a:uFillTx/>
                <a:latin typeface="Arial" panose="020B0604020202020204"/>
                <a:ea typeface="+mn-ea"/>
                <a:cs typeface="Arial"/>
              </a:rPr>
              <a:t>Financial organisation silos lead to duplication of processing and lack of visibility between schools/departments</a:t>
            </a:r>
          </a:p>
        </p:txBody>
      </p:sp>
      <p:sp>
        <p:nvSpPr>
          <p:cNvPr id="89" name="Freeform 153"/>
          <p:cNvSpPr/>
          <p:nvPr/>
        </p:nvSpPr>
        <p:spPr>
          <a:xfrm flipH="1">
            <a:off x="561979" y="2126411"/>
            <a:ext cx="3218856"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0" name="Rectangle 10"/>
          <p:cNvSpPr>
            <a:spLocks noChangeArrowheads="1"/>
          </p:cNvSpPr>
          <p:nvPr/>
        </p:nvSpPr>
        <p:spPr bwMode="auto">
          <a:xfrm>
            <a:off x="561979" y="2147953"/>
            <a:ext cx="2638636" cy="31239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solidFill>
                <a:effectLst/>
                <a:uLnTx/>
                <a:uFillTx/>
                <a:latin typeface="Arial" panose="020B0604020202020204"/>
                <a:ea typeface="+mn-ea"/>
                <a:cs typeface="Arial"/>
              </a:rPr>
              <a:t>Extensive staff knowledge aids overcoming inconsistent processes</a:t>
            </a:r>
          </a:p>
        </p:txBody>
      </p:sp>
      <p:sp>
        <p:nvSpPr>
          <p:cNvPr id="92" name="Freeform 163"/>
          <p:cNvSpPr/>
          <p:nvPr/>
        </p:nvSpPr>
        <p:spPr>
          <a:xfrm flipH="1" flipV="1">
            <a:off x="550985" y="4991729"/>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4"/>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3" name="Rectangle 10"/>
          <p:cNvSpPr>
            <a:spLocks noChangeArrowheads="1"/>
          </p:cNvSpPr>
          <p:nvPr/>
        </p:nvSpPr>
        <p:spPr bwMode="auto">
          <a:xfrm>
            <a:off x="561980" y="4808212"/>
            <a:ext cx="2188519"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lumMod val="60000"/>
                    <a:lumOff val="40000"/>
                  </a:srgbClr>
                </a:solidFill>
                <a:effectLst/>
                <a:uLnTx/>
                <a:uFillTx/>
                <a:latin typeface="Arial" panose="020B0604020202020204"/>
                <a:ea typeface="+mn-ea"/>
                <a:cs typeface="Arial"/>
              </a:rPr>
              <a:t>Limited best practice sharing and inhibited continuous improvement</a:t>
            </a:r>
          </a:p>
        </p:txBody>
      </p:sp>
      <p:sp>
        <p:nvSpPr>
          <p:cNvPr id="95" name="Freeform 186"/>
          <p:cNvSpPr/>
          <p:nvPr/>
        </p:nvSpPr>
        <p:spPr>
          <a:xfrm flipH="1" flipV="1">
            <a:off x="550985" y="5769128"/>
            <a:ext cx="3229851"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6" name="Rectangle 10"/>
          <p:cNvSpPr>
            <a:spLocks noChangeArrowheads="1"/>
          </p:cNvSpPr>
          <p:nvPr/>
        </p:nvSpPr>
        <p:spPr bwMode="auto">
          <a:xfrm>
            <a:off x="561980" y="5467509"/>
            <a:ext cx="2188519" cy="46589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rPr>
              <a:t>Complex and devolved structure limits quick decision making </a:t>
            </a:r>
            <a:endParaRPr kumimoji="0" lang="en-GB" sz="1015" b="1"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charset="0"/>
            </a:endParaRPr>
          </a:p>
          <a:p>
            <a:pPr marL="0" marR="0" lvl="0" indent="0" algn="l" defTabSz="737107" rtl="0" eaLnBrk="0" fontAlgn="auto" latinLnBrk="0" hangingPunct="0">
              <a:lnSpc>
                <a:spcPct val="100000"/>
              </a:lnSpc>
              <a:spcBef>
                <a:spcPts val="0"/>
              </a:spcBef>
              <a:spcAft>
                <a:spcPts val="185"/>
              </a:spcAft>
              <a:buClrTx/>
              <a:buSzTx/>
              <a:buFontTx/>
              <a:buNone/>
              <a:tabLst/>
              <a:defRPr/>
            </a:pPr>
            <a:r>
              <a:rPr kumimoji="0" lang="en-GB" sz="831" b="0" i="0" u="none" strike="noStrike" kern="0" cap="none" spc="0" normalizeH="0" baseline="0" noProof="0" dirty="0">
                <a:ln>
                  <a:noFill/>
                </a:ln>
                <a:solidFill>
                  <a:srgbClr val="6286A5">
                    <a:lumMod val="60000"/>
                    <a:lumOff val="40000"/>
                  </a:srgbClr>
                </a:solidFill>
                <a:effectLst/>
                <a:uLnTx/>
                <a:uFillTx/>
                <a:latin typeface="Arial" panose="020B0604020202020204"/>
                <a:ea typeface="+mn-ea"/>
                <a:cs typeface="Arial"/>
              </a:rPr>
              <a:t> </a:t>
            </a:r>
          </a:p>
        </p:txBody>
      </p:sp>
      <p:sp>
        <p:nvSpPr>
          <p:cNvPr id="98" name="Freeform 189"/>
          <p:cNvSpPr/>
          <p:nvPr/>
        </p:nvSpPr>
        <p:spPr>
          <a:xfrm flipV="1">
            <a:off x="6091650" y="4965205"/>
            <a:ext cx="2501365"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3"/>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99" name="Rectangle 10"/>
          <p:cNvSpPr>
            <a:spLocks noChangeArrowheads="1"/>
          </p:cNvSpPr>
          <p:nvPr/>
        </p:nvSpPr>
        <p:spPr bwMode="auto">
          <a:xfrm>
            <a:off x="6361283" y="4752253"/>
            <a:ext cx="2231732"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r" defTabSz="737107" rtl="0" eaLnBrk="1" fontAlgn="auto" latinLnBrk="0" hangingPunct="1">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6286A5"/>
                </a:solidFill>
                <a:effectLst/>
                <a:uLnTx/>
                <a:uFillTx/>
                <a:latin typeface="Arial" panose="020B0604020202020204"/>
                <a:ea typeface="+mn-lt"/>
                <a:cs typeface="Arial" panose="020B0604020202020204"/>
              </a:rPr>
              <a:t>Bespoke reporting which hinders decision making</a:t>
            </a:r>
            <a:r>
              <a:rPr kumimoji="0" lang="en-GB" sz="831" b="0" i="0" u="none" strike="noStrike" kern="0" cap="none" spc="0" normalizeH="0" baseline="0" noProof="0" dirty="0">
                <a:ln>
                  <a:noFill/>
                </a:ln>
                <a:solidFill>
                  <a:srgbClr val="D7E0E8">
                    <a:lumMod val="10000"/>
                  </a:srgbClr>
                </a:solidFill>
                <a:effectLst/>
                <a:uLnTx/>
                <a:uFillTx/>
                <a:latin typeface="Arial" panose="020B0604020202020204"/>
                <a:ea typeface="+mn-ea"/>
                <a:cs typeface="Arial"/>
              </a:rPr>
              <a:t>.</a:t>
            </a:r>
            <a:endParaRPr kumimoji="0" lang="en-GB" sz="831" b="0" i="0" u="none" strike="noStrike" kern="1200" cap="none" spc="0" normalizeH="0" baseline="0" noProof="0" dirty="0">
              <a:ln>
                <a:noFill/>
              </a:ln>
              <a:solidFill>
                <a:srgbClr val="D7E0E8">
                  <a:lumMod val="10000"/>
                </a:srgbClr>
              </a:solidFill>
              <a:effectLst/>
              <a:uLnTx/>
              <a:uFillTx/>
              <a:latin typeface="Arial" panose="020B0604020202020204"/>
              <a:ea typeface="+mn-ea"/>
              <a:cs typeface="Arial"/>
            </a:endParaRPr>
          </a:p>
        </p:txBody>
      </p:sp>
      <p:sp>
        <p:nvSpPr>
          <p:cNvPr id="80" name="Freeform 82"/>
          <p:cNvSpPr/>
          <p:nvPr/>
        </p:nvSpPr>
        <p:spPr>
          <a:xfrm>
            <a:off x="5409020" y="2126411"/>
            <a:ext cx="3191482"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5"/>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101" name="Freeform 192"/>
          <p:cNvSpPr/>
          <p:nvPr/>
        </p:nvSpPr>
        <p:spPr>
          <a:xfrm flipV="1">
            <a:off x="5409020" y="5907348"/>
            <a:ext cx="3191482" cy="181828"/>
          </a:xfrm>
          <a:custGeom>
            <a:avLst/>
            <a:gdLst>
              <a:gd name="connsiteX0" fmla="*/ 0 w 733245"/>
              <a:gd name="connsiteY0" fmla="*/ 198407 h 198407"/>
              <a:gd name="connsiteX1" fmla="*/ 198407 w 733245"/>
              <a:gd name="connsiteY1" fmla="*/ 0 h 198407"/>
              <a:gd name="connsiteX2" fmla="*/ 733245 w 733245"/>
              <a:gd name="connsiteY2" fmla="*/ 0 h 198407"/>
              <a:gd name="connsiteX0" fmla="*/ 0 w 733245"/>
              <a:gd name="connsiteY0" fmla="*/ 198407 h 198407"/>
              <a:gd name="connsiteX1" fmla="*/ 37531 w 733245"/>
              <a:gd name="connsiteY1" fmla="*/ 0 h 198407"/>
              <a:gd name="connsiteX2" fmla="*/ 733245 w 733245"/>
              <a:gd name="connsiteY2" fmla="*/ 0 h 198407"/>
            </a:gdLst>
            <a:ahLst/>
            <a:cxnLst>
              <a:cxn ang="0">
                <a:pos x="connsiteX0" y="connsiteY0"/>
              </a:cxn>
              <a:cxn ang="0">
                <a:pos x="connsiteX1" y="connsiteY1"/>
              </a:cxn>
              <a:cxn ang="0">
                <a:pos x="connsiteX2" y="connsiteY2"/>
              </a:cxn>
            </a:cxnLst>
            <a:rect l="l" t="t" r="r" b="b"/>
            <a:pathLst>
              <a:path w="733245" h="198407">
                <a:moveTo>
                  <a:pt x="0" y="198407"/>
                </a:moveTo>
                <a:lnTo>
                  <a:pt x="37531" y="0"/>
                </a:lnTo>
                <a:lnTo>
                  <a:pt x="733245" y="0"/>
                </a:lnTo>
              </a:path>
            </a:pathLst>
          </a:custGeom>
          <a:ln w="19050">
            <a:solidFill>
              <a:schemeClr val="accent2"/>
            </a:solidFill>
            <a:prstDash val="sysDot"/>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1662" b="0" i="0" u="none" strike="noStrike" kern="1200" cap="none" spc="0" normalizeH="0" baseline="0" noProof="0">
              <a:ln>
                <a:noFill/>
              </a:ln>
              <a:solidFill>
                <a:srgbClr val="5D717F"/>
              </a:solidFill>
              <a:effectLst/>
              <a:uLnTx/>
              <a:uFillTx/>
              <a:latin typeface="Arial" panose="020B0604020202020204"/>
              <a:ea typeface="+mn-ea"/>
              <a:cs typeface="+mn-cs"/>
            </a:endParaRPr>
          </a:p>
        </p:txBody>
      </p:sp>
      <p:sp>
        <p:nvSpPr>
          <p:cNvPr id="102" name="Rectangle 10"/>
          <p:cNvSpPr>
            <a:spLocks noChangeArrowheads="1"/>
          </p:cNvSpPr>
          <p:nvPr/>
        </p:nvSpPr>
        <p:spPr bwMode="auto">
          <a:xfrm>
            <a:off x="5472059" y="5771793"/>
            <a:ext cx="3121382" cy="312393"/>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marL="0" marR="0" lvl="0" indent="0" algn="r" defTabSz="737107" rtl="0" eaLnBrk="0" fontAlgn="auto" latinLnBrk="0" hangingPunct="0">
              <a:lnSpc>
                <a:spcPct val="100000"/>
              </a:lnSpc>
              <a:spcBef>
                <a:spcPts val="0"/>
              </a:spcBef>
              <a:spcAft>
                <a:spcPts val="185"/>
              </a:spcAft>
              <a:buClrTx/>
              <a:buSzTx/>
              <a:buFontTx/>
              <a:buNone/>
              <a:tabLst/>
              <a:defRPr/>
            </a:pPr>
            <a:r>
              <a:rPr kumimoji="0" lang="en-GB" sz="1015" b="1" i="0" u="none" strike="noStrike" kern="0" cap="none" spc="0" normalizeH="0" baseline="0" noProof="0" dirty="0">
                <a:ln>
                  <a:noFill/>
                </a:ln>
                <a:solidFill>
                  <a:srgbClr val="40596F"/>
                </a:solidFill>
                <a:effectLst/>
                <a:uLnTx/>
                <a:uFillTx/>
                <a:latin typeface="Arial" panose="020B0604020202020204"/>
                <a:ea typeface="+mn-ea"/>
                <a:cs typeface="Arial"/>
              </a:rPr>
              <a:t>Lack of full visibility of finance activities across the University</a:t>
            </a:r>
          </a:p>
        </p:txBody>
      </p:sp>
      <p:sp>
        <p:nvSpPr>
          <p:cNvPr id="46" name="Oval 45">
            <a:extLst>
              <a:ext uri="{FF2B5EF4-FFF2-40B4-BE49-F238E27FC236}">
                <a16:creationId xmlns:a16="http://schemas.microsoft.com/office/drawing/2014/main" id="{7E3F13A8-EF56-413C-B8FF-53666F44C1F3}"/>
              </a:ext>
            </a:extLst>
          </p:cNvPr>
          <p:cNvSpPr/>
          <p:nvPr/>
        </p:nvSpPr>
        <p:spPr bwMode="ltGray">
          <a:xfrm>
            <a:off x="2825914" y="3045389"/>
            <a:ext cx="925191" cy="925191"/>
          </a:xfrm>
          <a:prstGeom prst="ellipse">
            <a:avLst/>
          </a:prstGeom>
          <a:solidFill>
            <a:schemeClr val="accent3"/>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969" b="0" i="0" u="none" strike="noStrike" kern="1200" cap="none" spc="0" normalizeH="0" baseline="0" noProof="0" err="1">
              <a:ln>
                <a:noFill/>
              </a:ln>
              <a:solidFill>
                <a:srgbClr val="40596F"/>
              </a:solidFill>
              <a:effectLst/>
              <a:uLnTx/>
              <a:uFillTx/>
              <a:latin typeface="Arial" panose="020B0604020202020204"/>
              <a:ea typeface="+mn-ea"/>
              <a:cs typeface="+mn-cs"/>
            </a:endParaRPr>
          </a:p>
        </p:txBody>
      </p:sp>
      <p:sp>
        <p:nvSpPr>
          <p:cNvPr id="58" name="Oval 57"/>
          <p:cNvSpPr/>
          <p:nvPr/>
        </p:nvSpPr>
        <p:spPr bwMode="ltGray">
          <a:xfrm>
            <a:off x="2905010" y="3121084"/>
            <a:ext cx="770992" cy="770992"/>
          </a:xfrm>
          <a:prstGeom prst="ellipse">
            <a:avLst/>
          </a:prstGeom>
          <a:solidFill>
            <a:schemeClr val="bg1"/>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0" i="0" u="none" strike="noStrike" kern="1200" cap="none" spc="0" normalizeH="0" baseline="0" noProof="0" dirty="0">
                <a:ln>
                  <a:noFill/>
                </a:ln>
                <a:solidFill>
                  <a:srgbClr val="5D717F"/>
                </a:solidFill>
                <a:effectLst/>
                <a:uLnTx/>
                <a:uFillTx/>
                <a:latin typeface="Arial" panose="020B0604020202020204"/>
                <a:ea typeface="+mn-ea"/>
                <a:cs typeface="+mn-cs"/>
              </a:rPr>
              <a:t>Org Structure</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0" i="0" u="none" strike="noStrike" kern="1200" cap="none" spc="0" normalizeH="0" baseline="0" noProof="0" dirty="0">
                <a:ln>
                  <a:noFill/>
                </a:ln>
                <a:solidFill>
                  <a:srgbClr val="5D717F"/>
                </a:solidFill>
                <a:effectLst/>
                <a:uLnTx/>
                <a:uFillTx/>
                <a:latin typeface="Arial" panose="020B0604020202020204"/>
                <a:ea typeface="+mn-ea"/>
                <a:cs typeface="+mn-cs"/>
              </a:rPr>
              <a:t>silos</a:t>
            </a:r>
            <a:endParaRPr kumimoji="0" lang="en-GB" sz="738" b="0" i="0" u="none" strike="noStrike" kern="1200" cap="none" spc="0" normalizeH="0" baseline="0" noProof="0" dirty="0">
              <a:ln>
                <a:noFill/>
              </a:ln>
              <a:solidFill>
                <a:srgbClr val="5D717F"/>
              </a:solidFill>
              <a:effectLst/>
              <a:uLnTx/>
              <a:uFillTx/>
              <a:latin typeface="Arial" panose="020B0604020202020204"/>
              <a:ea typeface="+mn-ea"/>
              <a:cs typeface="Arial"/>
            </a:endParaRPr>
          </a:p>
        </p:txBody>
      </p:sp>
      <p:sp>
        <p:nvSpPr>
          <p:cNvPr id="49" name="Oval 48"/>
          <p:cNvSpPr/>
          <p:nvPr/>
        </p:nvSpPr>
        <p:spPr bwMode="ltGray">
          <a:xfrm>
            <a:off x="2974414" y="3195919"/>
            <a:ext cx="795456" cy="770992"/>
          </a:xfrm>
          <a:prstGeom prst="ellipse">
            <a:avLst/>
          </a:prstGeom>
          <a:solidFill>
            <a:srgbClr val="FFFFFF"/>
          </a:solidFill>
          <a:ln w="44450" cap="flat" cmpd="sng" algn="ctr">
            <a:solidFill>
              <a:schemeClr val="accent1">
                <a:lumMod val="75000"/>
              </a:schemeClr>
            </a:solidFill>
            <a:prstDash val="solid"/>
            <a:miter lim="800000"/>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r>
              <a:rPr lang="en-GB" sz="738" b="1" kern="0" dirty="0" smtClean="0">
                <a:solidFill>
                  <a:srgbClr val="5D717F"/>
                </a:solidFill>
                <a:latin typeface="Arial" panose="020B0604020202020204"/>
                <a:cs typeface="Arial"/>
              </a:rPr>
              <a:t>Org structure Silos</a:t>
            </a:r>
            <a:endParaRPr kumimoji="0" lang="en-GB" sz="738" b="1" i="0" u="none" strike="noStrike" kern="0" cap="none" spc="0" normalizeH="0" baseline="0" noProof="0" dirty="0">
              <a:ln>
                <a:noFill/>
              </a:ln>
              <a:solidFill>
                <a:srgbClr val="5D717F"/>
              </a:solidFill>
              <a:effectLst/>
              <a:uLnTx/>
              <a:uFillTx/>
              <a:latin typeface="Arial" panose="020B0604020202020204"/>
              <a:ea typeface="+mn-ea"/>
              <a:cs typeface="Arial"/>
            </a:endParaRPr>
          </a:p>
        </p:txBody>
      </p:sp>
      <p:sp>
        <p:nvSpPr>
          <p:cNvPr id="51" name="Oval 50"/>
          <p:cNvSpPr/>
          <p:nvPr/>
        </p:nvSpPr>
        <p:spPr bwMode="ltGray">
          <a:xfrm>
            <a:off x="5428429" y="4127650"/>
            <a:ext cx="795456" cy="770992"/>
          </a:xfrm>
          <a:prstGeom prst="ellipse">
            <a:avLst/>
          </a:prstGeom>
          <a:solidFill>
            <a:srgbClr val="FFFFFF"/>
          </a:solidFill>
          <a:ln w="44450" cap="flat" cmpd="sng" algn="ctr">
            <a:solidFill>
              <a:schemeClr val="accent1">
                <a:lumMod val="75000"/>
              </a:schemeClr>
            </a:solidFill>
            <a:prstDash val="solid"/>
            <a:miter lim="800000"/>
          </a:ln>
          <a:effectLst/>
        </p:spPr>
        <p:txBody>
          <a:bodyPr lIns="0" tIns="0" rIns="0" bIns="0" rtlCol="0" anchor="ctr"/>
          <a:lstStyle/>
          <a:p>
            <a:pPr marL="0" marR="0" lvl="0" indent="0" algn="ctr" defTabSz="844083" eaLnBrk="1" fontAlgn="auto" latinLnBrk="0" hangingPunct="1">
              <a:lnSpc>
                <a:spcPct val="100000"/>
              </a:lnSpc>
              <a:spcBef>
                <a:spcPts val="0"/>
              </a:spcBef>
              <a:spcAft>
                <a:spcPts val="0"/>
              </a:spcAft>
              <a:buClrTx/>
              <a:buSzTx/>
              <a:buFontTx/>
              <a:buNone/>
              <a:tabLst/>
              <a:defRPr/>
            </a:pPr>
            <a:r>
              <a:rPr lang="en-GB" sz="738" b="1" kern="0" dirty="0" smtClean="0">
                <a:solidFill>
                  <a:srgbClr val="5D717F"/>
                </a:solidFill>
                <a:latin typeface="Arial" panose="020B0604020202020204"/>
                <a:cs typeface="Arial"/>
              </a:rPr>
              <a:t>Complex reporting processes</a:t>
            </a:r>
            <a:endParaRPr kumimoji="0" lang="en-GB" sz="738" b="1" i="0" u="none" strike="noStrike" kern="0" cap="none" spc="0" normalizeH="0" baseline="0" noProof="0" dirty="0">
              <a:ln>
                <a:noFill/>
              </a:ln>
              <a:solidFill>
                <a:srgbClr val="5D717F"/>
              </a:solidFill>
              <a:effectLst/>
              <a:uLnTx/>
              <a:uFillTx/>
              <a:latin typeface="Arial" panose="020B0604020202020204"/>
              <a:ea typeface="+mn-ea"/>
              <a:cs typeface="Arial"/>
            </a:endParaRPr>
          </a:p>
        </p:txBody>
      </p:sp>
    </p:spTree>
    <p:custDataLst>
      <p:tags r:id="rId1"/>
    </p:custDataLst>
    <p:extLst>
      <p:ext uri="{BB962C8B-B14F-4D97-AF65-F5344CB8AC3E}">
        <p14:creationId xmlns:p14="http://schemas.microsoft.com/office/powerpoint/2010/main" val="3321598297"/>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Content Placeholder 8"/>
          <p:cNvGraphicFramePr>
            <a:graphicFrameLocks noGrp="1"/>
          </p:cNvGraphicFramePr>
          <p:nvPr>
            <p:ph idx="1"/>
            <p:extLst/>
          </p:nvPr>
        </p:nvGraphicFramePr>
        <p:xfrm>
          <a:off x="278623" y="2140109"/>
          <a:ext cx="8375990" cy="3900070"/>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 Placeholder 1"/>
          <p:cNvSpPr>
            <a:spLocks noGrp="1"/>
          </p:cNvSpPr>
          <p:nvPr>
            <p:ph type="body" sz="quarter" idx="13"/>
          </p:nvPr>
        </p:nvSpPr>
        <p:spPr/>
        <p:txBody>
          <a:bodyPr/>
          <a:lstStyle/>
          <a:p>
            <a:r>
              <a:rPr lang="en-GB" sz="2215" dirty="0"/>
              <a:t>Summary of </a:t>
            </a:r>
            <a:r>
              <a:rPr lang="en-GB" sz="2215" dirty="0" smtClean="0"/>
              <a:t>survey comments </a:t>
            </a:r>
            <a:r>
              <a:rPr lang="en-GB" sz="2215" dirty="0"/>
              <a:t>by key themes</a:t>
            </a:r>
          </a:p>
        </p:txBody>
      </p:sp>
      <p:sp>
        <p:nvSpPr>
          <p:cNvPr id="24" name="Rectangle 23"/>
          <p:cNvSpPr/>
          <p:nvPr/>
        </p:nvSpPr>
        <p:spPr>
          <a:xfrm>
            <a:off x="7199451" y="2103401"/>
            <a:ext cx="1266178" cy="738600"/>
          </a:xfrm>
          <a:prstGeom prst="rect">
            <a:avLst/>
          </a:prstGeom>
        </p:spPr>
        <p:txBody>
          <a:bodyPr wrap="square" lIns="0" tIns="0" rIns="0" bIns="0">
            <a:spAutoFit/>
          </a:bodyPr>
          <a:lstStyle/>
          <a:p>
            <a:pPr marL="0" marR="0" lvl="0" indent="0" algn="r" defTabSz="844083" rtl="0" eaLnBrk="1" fontAlgn="auto" latinLnBrk="0" hangingPunct="1">
              <a:lnSpc>
                <a:spcPct val="130000"/>
              </a:lnSpc>
              <a:spcBef>
                <a:spcPts val="0"/>
              </a:spcBef>
              <a:spcAft>
                <a:spcPts val="723"/>
              </a:spcAft>
              <a:buClrTx/>
              <a:buSzTx/>
              <a:buFontTx/>
              <a:buNone/>
              <a:tabLst/>
              <a:defRPr/>
            </a:pPr>
            <a:r>
              <a:rPr kumimoji="0" lang="en-GB" sz="3692" b="1" i="0" u="none" strike="noStrike" kern="1200" cap="none" spc="0" normalizeH="0" baseline="0" noProof="0">
                <a:ln>
                  <a:noFill/>
                </a:ln>
                <a:solidFill>
                  <a:srgbClr val="E9EFF6">
                    <a:lumMod val="10000"/>
                  </a:srgbClr>
                </a:solidFill>
                <a:effectLst/>
                <a:uLnTx/>
                <a:uFillTx/>
                <a:latin typeface="Arial" panose="020B0604020202020204"/>
                <a:ea typeface="+mn-ea"/>
                <a:cs typeface="+mn-cs"/>
              </a:rPr>
              <a:t>15</a:t>
            </a:r>
            <a:r>
              <a:rPr kumimoji="0" lang="en-GB" sz="1846" b="1" i="0" u="none" strike="noStrike" kern="1200" cap="none" spc="0" normalizeH="0" baseline="0" noProof="0">
                <a:ln>
                  <a:noFill/>
                </a:ln>
                <a:solidFill>
                  <a:srgbClr val="E9EFF6">
                    <a:lumMod val="10000"/>
                  </a:srgbClr>
                </a:solidFill>
                <a:effectLst/>
                <a:uLnTx/>
                <a:uFillTx/>
                <a:latin typeface="Arial" panose="020B0604020202020204"/>
                <a:ea typeface="+mn-ea"/>
                <a:cs typeface="+mn-cs"/>
              </a:rPr>
              <a:t>%</a:t>
            </a:r>
            <a:endParaRPr kumimoji="0" lang="en-GB" sz="3323" b="1" i="0" u="none" strike="noStrike" kern="1200" cap="none" spc="0" normalizeH="0" baseline="0" noProof="0">
              <a:ln>
                <a:noFill/>
              </a:ln>
              <a:solidFill>
                <a:srgbClr val="E9EFF6">
                  <a:lumMod val="10000"/>
                </a:srgbClr>
              </a:solidFill>
              <a:effectLst/>
              <a:uLnTx/>
              <a:uFillTx/>
              <a:latin typeface="Arial" panose="020B0604020202020204"/>
              <a:ea typeface="+mn-ea"/>
              <a:cs typeface="+mn-cs"/>
            </a:endParaRPr>
          </a:p>
        </p:txBody>
      </p:sp>
      <p:cxnSp>
        <p:nvCxnSpPr>
          <p:cNvPr id="25" name="Straight Connector 24"/>
          <p:cNvCxnSpPr>
            <a:cxnSpLocks/>
          </p:cNvCxnSpPr>
          <p:nvPr/>
        </p:nvCxnSpPr>
        <p:spPr>
          <a:xfrm>
            <a:off x="5636952" y="2841078"/>
            <a:ext cx="2737518" cy="0"/>
          </a:xfrm>
          <a:prstGeom prst="line">
            <a:avLst/>
          </a:prstGeom>
          <a:noFill/>
          <a:ln w="6350">
            <a:solidFill>
              <a:schemeClr val="tx1"/>
            </a:solidFill>
            <a:headEnd type="oval"/>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2" name="Rectangle 21"/>
          <p:cNvSpPr/>
          <p:nvPr/>
        </p:nvSpPr>
        <p:spPr>
          <a:xfrm>
            <a:off x="6794738" y="3106084"/>
            <a:ext cx="1266178" cy="738600"/>
          </a:xfrm>
          <a:prstGeom prst="rect">
            <a:avLst/>
          </a:prstGeom>
        </p:spPr>
        <p:txBody>
          <a:bodyPr wrap="square" lIns="0" tIns="0" rIns="0" bIns="0">
            <a:spAutoFit/>
          </a:bodyPr>
          <a:lstStyle/>
          <a:p>
            <a:pPr marL="0" marR="0" lvl="0" indent="0" algn="r" defTabSz="844083" rtl="0" eaLnBrk="1" fontAlgn="auto" latinLnBrk="0" hangingPunct="1">
              <a:lnSpc>
                <a:spcPct val="130000"/>
              </a:lnSpc>
              <a:spcBef>
                <a:spcPts val="0"/>
              </a:spcBef>
              <a:spcAft>
                <a:spcPts val="723"/>
              </a:spcAft>
              <a:buClrTx/>
              <a:buSzTx/>
              <a:buFontTx/>
              <a:buNone/>
              <a:tabLst/>
              <a:defRPr/>
            </a:pPr>
            <a:r>
              <a:rPr kumimoji="0" lang="en-GB" sz="3692"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26</a:t>
            </a:r>
            <a:r>
              <a:rPr kumimoji="0" lang="en-GB" sz="1846"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a:t>
            </a:r>
            <a:endParaRPr kumimoji="0" lang="en-GB" sz="3323"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endParaRPr>
          </a:p>
        </p:txBody>
      </p:sp>
      <p:cxnSp>
        <p:nvCxnSpPr>
          <p:cNvPr id="26" name="Straight Connector 25"/>
          <p:cNvCxnSpPr>
            <a:cxnSpLocks/>
          </p:cNvCxnSpPr>
          <p:nvPr/>
        </p:nvCxnSpPr>
        <p:spPr>
          <a:xfrm>
            <a:off x="6036695" y="3796297"/>
            <a:ext cx="2024222" cy="0"/>
          </a:xfrm>
          <a:prstGeom prst="line">
            <a:avLst/>
          </a:prstGeom>
          <a:noFill/>
          <a:ln w="6350">
            <a:solidFill>
              <a:schemeClr val="tx1"/>
            </a:solidFill>
            <a:headEnd type="oval"/>
            <a:tailEnd type="none" w="med" len="med"/>
          </a:ln>
        </p:spPr>
        <p:style>
          <a:lnRef idx="2">
            <a:schemeClr val="accent1">
              <a:shade val="50000"/>
            </a:schemeClr>
          </a:lnRef>
          <a:fillRef idx="1">
            <a:schemeClr val="accent1"/>
          </a:fillRef>
          <a:effectRef idx="0">
            <a:schemeClr val="accent1"/>
          </a:effectRef>
          <a:fontRef idx="minor">
            <a:schemeClr val="lt1"/>
          </a:fontRef>
        </p:style>
      </p:cxnSp>
      <p:sp>
        <p:nvSpPr>
          <p:cNvPr id="27" name="Rectangle 26"/>
          <p:cNvSpPr/>
          <p:nvPr/>
        </p:nvSpPr>
        <p:spPr>
          <a:xfrm>
            <a:off x="676134" y="3465407"/>
            <a:ext cx="1266178" cy="738600"/>
          </a:xfrm>
          <a:prstGeom prst="rect">
            <a:avLst/>
          </a:prstGeom>
        </p:spPr>
        <p:txBody>
          <a:bodyPr wrap="square" lIns="0" tIns="0" rIns="0" bIns="0">
            <a:spAutoFit/>
          </a:bodyPr>
          <a:lstStyle/>
          <a:p>
            <a:pPr marL="0" marR="0" lvl="0" indent="0" algn="l" defTabSz="844083" rtl="0" eaLnBrk="1" fontAlgn="auto" latinLnBrk="0" hangingPunct="1">
              <a:lnSpc>
                <a:spcPct val="130000"/>
              </a:lnSpc>
              <a:spcBef>
                <a:spcPts val="0"/>
              </a:spcBef>
              <a:spcAft>
                <a:spcPts val="723"/>
              </a:spcAft>
              <a:buClrTx/>
              <a:buSzTx/>
              <a:buFontTx/>
              <a:buNone/>
              <a:tabLst/>
              <a:defRPr/>
            </a:pPr>
            <a:r>
              <a:rPr kumimoji="0" lang="en-GB" sz="3692"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41</a:t>
            </a:r>
            <a:r>
              <a:rPr kumimoji="0" lang="en-GB" sz="1846" b="1" i="0" u="none" strike="noStrike" kern="1200" cap="none" spc="0" normalizeH="0" baseline="0" noProof="0" dirty="0">
                <a:ln>
                  <a:noFill/>
                </a:ln>
                <a:solidFill>
                  <a:srgbClr val="293947"/>
                </a:solidFill>
                <a:effectLst/>
                <a:uLnTx/>
                <a:uFillTx/>
                <a:latin typeface="Arial" panose="020B0604020202020204"/>
                <a:ea typeface="+mn-ea"/>
                <a:cs typeface="+mn-cs"/>
              </a:rPr>
              <a:t>%</a:t>
            </a:r>
            <a:endParaRPr kumimoji="0" lang="en-GB" sz="3323" b="1" i="0" u="none" strike="noStrike" kern="1200" cap="none" spc="0" normalizeH="0" baseline="0" noProof="0" dirty="0">
              <a:ln>
                <a:noFill/>
              </a:ln>
              <a:solidFill>
                <a:srgbClr val="293947"/>
              </a:solidFill>
              <a:effectLst/>
              <a:uLnTx/>
              <a:uFillTx/>
              <a:latin typeface="Arial" panose="020B0604020202020204"/>
              <a:ea typeface="+mn-ea"/>
              <a:cs typeface="+mn-cs"/>
            </a:endParaRPr>
          </a:p>
        </p:txBody>
      </p:sp>
      <p:cxnSp>
        <p:nvCxnSpPr>
          <p:cNvPr id="28" name="Straight Connector 27"/>
          <p:cNvCxnSpPr>
            <a:cxnSpLocks/>
          </p:cNvCxnSpPr>
          <p:nvPr/>
        </p:nvCxnSpPr>
        <p:spPr>
          <a:xfrm>
            <a:off x="712945" y="4123508"/>
            <a:ext cx="2459221" cy="3679"/>
          </a:xfrm>
          <a:prstGeom prst="line">
            <a:avLst/>
          </a:prstGeom>
          <a:noFill/>
          <a:ln w="6350">
            <a:solidFill>
              <a:schemeClr val="tx1"/>
            </a:solidFill>
            <a:headEnd type="none"/>
            <a:tailEnd type="oval" w="med" len="med"/>
          </a:ln>
        </p:spPr>
        <p:style>
          <a:lnRef idx="2">
            <a:schemeClr val="accent1">
              <a:shade val="50000"/>
            </a:schemeClr>
          </a:lnRef>
          <a:fillRef idx="1">
            <a:schemeClr val="accent1"/>
          </a:fillRef>
          <a:effectRef idx="0">
            <a:schemeClr val="accent1"/>
          </a:effectRef>
          <a:fontRef idx="minor">
            <a:schemeClr val="lt1"/>
          </a:fontRef>
        </p:style>
      </p:cxnSp>
      <p:sp>
        <p:nvSpPr>
          <p:cNvPr id="31" name="Rectangle 30"/>
          <p:cNvSpPr/>
          <p:nvPr/>
        </p:nvSpPr>
        <p:spPr>
          <a:xfrm>
            <a:off x="5528560" y="1491052"/>
            <a:ext cx="1266178" cy="738600"/>
          </a:xfrm>
          <a:prstGeom prst="rect">
            <a:avLst/>
          </a:prstGeom>
        </p:spPr>
        <p:txBody>
          <a:bodyPr wrap="square" lIns="0" tIns="0" rIns="0" bIns="0">
            <a:spAutoFit/>
          </a:bodyPr>
          <a:lstStyle/>
          <a:p>
            <a:pPr marL="0" marR="0" lvl="0" indent="0" algn="l" defTabSz="844083" rtl="0" eaLnBrk="1" fontAlgn="auto" latinLnBrk="0" hangingPunct="1">
              <a:lnSpc>
                <a:spcPct val="130000"/>
              </a:lnSpc>
              <a:spcBef>
                <a:spcPts val="0"/>
              </a:spcBef>
              <a:spcAft>
                <a:spcPts val="723"/>
              </a:spcAft>
              <a:buClrTx/>
              <a:buSzTx/>
              <a:buFontTx/>
              <a:buNone/>
              <a:tabLst/>
              <a:defRPr/>
            </a:pPr>
            <a:r>
              <a:rPr kumimoji="0" lang="en-GB" sz="3692"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1</a:t>
            </a:r>
            <a:r>
              <a:rPr kumimoji="0" lang="en-GB" sz="1846"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a:t>
            </a:r>
            <a:endParaRPr kumimoji="0" lang="en-GB" sz="3323"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endParaRPr>
          </a:p>
        </p:txBody>
      </p:sp>
      <p:cxnSp>
        <p:nvCxnSpPr>
          <p:cNvPr id="32" name="Straight Connector 31"/>
          <p:cNvCxnSpPr>
            <a:cxnSpLocks/>
          </p:cNvCxnSpPr>
          <p:nvPr/>
        </p:nvCxnSpPr>
        <p:spPr>
          <a:xfrm flipH="1">
            <a:off x="4572001" y="2176139"/>
            <a:ext cx="1589648" cy="0"/>
          </a:xfrm>
          <a:prstGeom prst="line">
            <a:avLst/>
          </a:prstGeom>
          <a:noFill/>
          <a:ln w="6350">
            <a:solidFill>
              <a:schemeClr val="tx1"/>
            </a:solidFill>
            <a:headEnd type="none"/>
            <a:tailEnd type="oval" w="med" len="med"/>
          </a:ln>
        </p:spPr>
        <p:style>
          <a:lnRef idx="2">
            <a:schemeClr val="accent1">
              <a:shade val="50000"/>
            </a:schemeClr>
          </a:lnRef>
          <a:fillRef idx="1">
            <a:schemeClr val="accent1"/>
          </a:fillRef>
          <a:effectRef idx="0">
            <a:schemeClr val="accent1"/>
          </a:effectRef>
          <a:fontRef idx="minor">
            <a:schemeClr val="lt1"/>
          </a:fontRef>
        </p:style>
      </p:cxnSp>
      <p:sp>
        <p:nvSpPr>
          <p:cNvPr id="33" name="Rectangle 32"/>
          <p:cNvSpPr/>
          <p:nvPr/>
        </p:nvSpPr>
        <p:spPr>
          <a:xfrm>
            <a:off x="676135" y="2179298"/>
            <a:ext cx="1266178" cy="738600"/>
          </a:xfrm>
          <a:prstGeom prst="rect">
            <a:avLst/>
          </a:prstGeom>
        </p:spPr>
        <p:txBody>
          <a:bodyPr wrap="square" lIns="0" tIns="0" rIns="0" bIns="0">
            <a:spAutoFit/>
          </a:bodyPr>
          <a:lstStyle/>
          <a:p>
            <a:pPr marL="0" marR="0" lvl="0" indent="0" algn="l" defTabSz="844083" rtl="0" eaLnBrk="1" fontAlgn="auto" latinLnBrk="0" hangingPunct="1">
              <a:lnSpc>
                <a:spcPct val="130000"/>
              </a:lnSpc>
              <a:spcBef>
                <a:spcPts val="0"/>
              </a:spcBef>
              <a:spcAft>
                <a:spcPts val="723"/>
              </a:spcAft>
              <a:buClrTx/>
              <a:buSzTx/>
              <a:buFontTx/>
              <a:buNone/>
              <a:tabLst/>
              <a:defRPr/>
            </a:pPr>
            <a:r>
              <a:rPr kumimoji="0" lang="en-GB" sz="3692" b="1" i="0" u="none" strike="noStrike" kern="1200" cap="none" spc="0" normalizeH="0" baseline="0" noProof="0" dirty="0">
                <a:ln>
                  <a:noFill/>
                </a:ln>
                <a:solidFill>
                  <a:srgbClr val="E9EFF6">
                    <a:lumMod val="10000"/>
                  </a:srgbClr>
                </a:solidFill>
                <a:effectLst/>
                <a:uLnTx/>
                <a:uFillTx/>
                <a:latin typeface="Arial" panose="020B0604020202020204"/>
                <a:ea typeface="+mn-ea"/>
                <a:cs typeface="+mn-cs"/>
              </a:rPr>
              <a:t>17</a:t>
            </a:r>
            <a:r>
              <a:rPr kumimoji="0" lang="en-GB" sz="1846" b="1" i="0" u="none" strike="noStrike" kern="1200" cap="none" spc="0" normalizeH="0" baseline="0" noProof="0" dirty="0">
                <a:ln>
                  <a:noFill/>
                </a:ln>
                <a:solidFill>
                  <a:srgbClr val="293947"/>
                </a:solidFill>
                <a:effectLst/>
                <a:uLnTx/>
                <a:uFillTx/>
                <a:latin typeface="Arial" panose="020B0604020202020204"/>
                <a:ea typeface="+mn-ea"/>
                <a:cs typeface="+mn-cs"/>
              </a:rPr>
              <a:t>%</a:t>
            </a:r>
            <a:endParaRPr kumimoji="0" lang="en-GB" sz="3323" b="1" i="0" u="none" strike="noStrike" kern="1200" cap="none" spc="0" normalizeH="0" baseline="0" noProof="0" dirty="0">
              <a:ln>
                <a:noFill/>
              </a:ln>
              <a:solidFill>
                <a:srgbClr val="293947"/>
              </a:solidFill>
              <a:effectLst/>
              <a:uLnTx/>
              <a:uFillTx/>
              <a:latin typeface="Arial" panose="020B0604020202020204"/>
              <a:ea typeface="+mn-ea"/>
              <a:cs typeface="+mn-cs"/>
            </a:endParaRPr>
          </a:p>
        </p:txBody>
      </p:sp>
      <p:cxnSp>
        <p:nvCxnSpPr>
          <p:cNvPr id="34" name="Straight Connector 33"/>
          <p:cNvCxnSpPr>
            <a:cxnSpLocks/>
          </p:cNvCxnSpPr>
          <p:nvPr/>
        </p:nvCxnSpPr>
        <p:spPr>
          <a:xfrm>
            <a:off x="676135" y="2832144"/>
            <a:ext cx="2601965" cy="8934"/>
          </a:xfrm>
          <a:prstGeom prst="line">
            <a:avLst/>
          </a:prstGeom>
          <a:noFill/>
          <a:ln w="6350">
            <a:solidFill>
              <a:schemeClr val="tx1"/>
            </a:solidFill>
            <a:headEnd type="none"/>
            <a:tailEnd type="oval" w="med" len="med"/>
          </a:ln>
        </p:spPr>
        <p:style>
          <a:lnRef idx="2">
            <a:schemeClr val="accent1">
              <a:shade val="50000"/>
            </a:schemeClr>
          </a:lnRef>
          <a:fillRef idx="1">
            <a:schemeClr val="accent1"/>
          </a:fillRef>
          <a:effectRef idx="0">
            <a:schemeClr val="accent1"/>
          </a:effectRef>
          <a:fontRef idx="minor">
            <a:schemeClr val="lt1"/>
          </a:fontRef>
        </p:style>
      </p:cxnSp>
      <p:sp>
        <p:nvSpPr>
          <p:cNvPr id="21" name="Rectangle 20"/>
          <p:cNvSpPr/>
          <p:nvPr/>
        </p:nvSpPr>
        <p:spPr>
          <a:xfrm>
            <a:off x="552450" y="1579978"/>
            <a:ext cx="2672129" cy="326660"/>
          </a:xfrm>
          <a:prstGeom prst="rect">
            <a:avLst/>
          </a:prstGeom>
        </p:spPr>
        <p:txBody>
          <a:bodyPr wrap="square" lIns="0" tIns="0" rIns="0" bIns="0" anchor="t">
            <a:noAutofit/>
          </a:bodyPr>
          <a:lstStyle/>
          <a:p>
            <a:pPr marL="0" marR="0" lvl="0" indent="0" algn="l" defTabSz="844083" rtl="0" eaLnBrk="1" fontAlgn="auto" latinLnBrk="0" hangingPunct="1">
              <a:lnSpc>
                <a:spcPct val="100000"/>
              </a:lnSpc>
              <a:spcBef>
                <a:spcPts val="0"/>
              </a:spcBef>
              <a:spcAft>
                <a:spcPts val="738"/>
              </a:spcAft>
              <a:buClrTx/>
              <a:buSzTx/>
              <a:buFontTx/>
              <a:buNone/>
              <a:tabLst/>
              <a:defRPr/>
            </a:pPr>
            <a:r>
              <a:rPr kumimoji="0" lang="en-GB" sz="1292" b="1" i="0" u="none" strike="noStrike" kern="900" cap="none" spc="0" normalizeH="0" baseline="0" noProof="0">
                <a:ln>
                  <a:noFill/>
                </a:ln>
                <a:solidFill>
                  <a:srgbClr val="293947"/>
                </a:solidFill>
                <a:effectLst/>
                <a:uLnTx/>
                <a:uFillTx/>
                <a:latin typeface="Arial"/>
                <a:ea typeface="+mn-ea"/>
                <a:cs typeface="Arial"/>
              </a:rPr>
              <a:t>Percentage breakdown of comments relating to the five key themes</a:t>
            </a:r>
          </a:p>
        </p:txBody>
      </p:sp>
      <p:sp>
        <p:nvSpPr>
          <p:cNvPr id="3" name="TextBox 2">
            <a:extLst>
              <a:ext uri="{FF2B5EF4-FFF2-40B4-BE49-F238E27FC236}">
                <a16:creationId xmlns:a16="http://schemas.microsoft.com/office/drawing/2014/main" id="{9855BB30-3734-4943-BFCE-882FA6FCFA3C}"/>
              </a:ext>
            </a:extLst>
          </p:cNvPr>
          <p:cNvSpPr txBox="1"/>
          <p:nvPr/>
        </p:nvSpPr>
        <p:spPr>
          <a:xfrm>
            <a:off x="6161649" y="4939870"/>
            <a:ext cx="844062" cy="844062"/>
          </a:xfrm>
          <a:prstGeom prst="rect">
            <a:avLst/>
          </a:prstGeom>
          <a:noFill/>
        </p:spPr>
        <p:txBody>
          <a:bodyPr wrap="none"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015" b="0" i="0" u="none" strike="noStrike" kern="1200" cap="none" spc="0" normalizeH="0" baseline="0" noProof="0" err="1">
              <a:ln>
                <a:noFill/>
              </a:ln>
              <a:solidFill>
                <a:srgbClr val="293947"/>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89973C60-B14C-46B5-B19F-D874E5274B69}"/>
              </a:ext>
            </a:extLst>
          </p:cNvPr>
          <p:cNvSpPr txBox="1"/>
          <p:nvPr/>
        </p:nvSpPr>
        <p:spPr>
          <a:xfrm>
            <a:off x="6275301" y="3890676"/>
            <a:ext cx="2495818" cy="2314542"/>
          </a:xfrm>
          <a:prstGeom prst="rect">
            <a:avLst/>
          </a:prstGeom>
        </p:spPr>
        <p:style>
          <a:lnRef idx="3">
            <a:schemeClr val="lt1"/>
          </a:lnRef>
          <a:fillRef idx="1">
            <a:schemeClr val="accent4"/>
          </a:fillRef>
          <a:effectRef idx="1">
            <a:schemeClr val="accent4"/>
          </a:effectRef>
          <a:fontRef idx="minor">
            <a:schemeClr val="lt1"/>
          </a:fontRef>
        </p:style>
        <p:txBody>
          <a:bodyPr wrap="square" rtlCol="0" anchor="t">
            <a:noAutofit/>
          </a:bodyPr>
          <a:lstStyle/>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8" b="0" i="0" u="none" strike="noStrike" kern="1200" cap="none" spc="0" normalizeH="0" baseline="0" noProof="0" dirty="0">
                <a:ln>
                  <a:noFill/>
                </a:ln>
                <a:solidFill>
                  <a:srgbClr val="FFFFFF"/>
                </a:solidFill>
                <a:effectLst/>
                <a:uLnTx/>
                <a:uFillTx/>
                <a:latin typeface="Arial" panose="020B0604020202020204"/>
                <a:ea typeface="+mn-ea"/>
                <a:cs typeface="+mn-cs"/>
              </a:rPr>
              <a:t>The highest percentage of responses were focused upon </a:t>
            </a:r>
            <a:r>
              <a:rPr kumimoji="0" lang="en-GB" sz="1108" b="1" i="0" u="sng" strike="noStrike" kern="1200" cap="none" spc="0" normalizeH="0" baseline="0" noProof="0" dirty="0">
                <a:ln>
                  <a:noFill/>
                </a:ln>
                <a:solidFill>
                  <a:srgbClr val="FFFFFF"/>
                </a:solidFill>
                <a:effectLst/>
                <a:uLnTx/>
                <a:uFillTx/>
                <a:latin typeface="Arial" panose="020B0604020202020204"/>
                <a:ea typeface="+mn-ea"/>
                <a:cs typeface="+mn-cs"/>
              </a:rPr>
              <a:t>p</a:t>
            </a:r>
            <a:r>
              <a:rPr kumimoji="0" lang="en-GB" sz="1108" b="1" i="0" u="sng" strike="noStrike" kern="1200" cap="none" spc="0" normalizeH="0" baseline="0" noProof="0" dirty="0" err="1">
                <a:ln>
                  <a:noFill/>
                </a:ln>
                <a:solidFill>
                  <a:srgbClr val="FFFFFF"/>
                </a:solidFill>
                <a:effectLst/>
                <a:uLnTx/>
                <a:uFillTx/>
                <a:latin typeface="Arial" panose="020B0604020202020204"/>
                <a:ea typeface="+mn-ea"/>
                <a:cs typeface="+mn-cs"/>
              </a:rPr>
              <a:t>rocesses</a:t>
            </a:r>
            <a:r>
              <a:rPr kumimoji="0" lang="en-GB" sz="1108" b="1" i="0" u="sng" strike="noStrike" kern="1200" cap="none" spc="0" normalizeH="0" baseline="0" noProof="0" dirty="0">
                <a:ln>
                  <a:noFill/>
                </a:ln>
                <a:solidFill>
                  <a:srgbClr val="FFFFFF"/>
                </a:solidFill>
                <a:effectLst/>
                <a:uLnTx/>
                <a:uFillTx/>
                <a:latin typeface="Arial" panose="020B0604020202020204"/>
                <a:ea typeface="+mn-ea"/>
                <a:cs typeface="+mn-cs"/>
              </a:rPr>
              <a:t> and policies</a:t>
            </a:r>
            <a:r>
              <a:rPr kumimoji="0" lang="en-GB" sz="1108" b="1"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GB" sz="1108" b="0" i="0" u="none" strike="noStrike" kern="1200" cap="none" spc="0" normalizeH="0" baseline="0" noProof="0" dirty="0">
                <a:ln>
                  <a:noFill/>
                </a:ln>
                <a:solidFill>
                  <a:srgbClr val="FFFFFF"/>
                </a:solidFill>
                <a:effectLst/>
                <a:uLnTx/>
                <a:uFillTx/>
                <a:latin typeface="Arial" panose="020B0604020202020204"/>
                <a:ea typeface="+mn-ea"/>
                <a:cs typeface="+mn-cs"/>
              </a:rPr>
              <a:t>with over a third of all responses alluding to this theme. Comments were broadly around inefficiency, lack of transparency and manual effort being required.</a:t>
            </a:r>
            <a:endParaRPr kumimoji="0" lang="en-GB" sz="1108" b="0" i="0" u="none" strike="noStrike" kern="1200" cap="none" spc="0" normalizeH="0" baseline="0" noProof="0" dirty="0">
              <a:ln>
                <a:noFill/>
              </a:ln>
              <a:solidFill>
                <a:srgbClr val="FFFFFF"/>
              </a:solidFill>
              <a:effectLst/>
              <a:uLnTx/>
              <a:uFillTx/>
              <a:latin typeface="Arial" panose="020B0604020202020204"/>
              <a:ea typeface="+mn-ea"/>
              <a:cs typeface="Arial"/>
            </a:endParaRPr>
          </a:p>
          <a:p>
            <a:pPr marL="158265" marR="0" lvl="0" indent="-158265" algn="l" defTabSz="844083"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108" b="1" i="0" u="sng" strike="noStrike" kern="1200" cap="none" spc="0" normalizeH="0" baseline="0" noProof="0" dirty="0">
                <a:ln>
                  <a:noFill/>
                </a:ln>
                <a:solidFill>
                  <a:srgbClr val="FFFFFF"/>
                </a:solidFill>
                <a:effectLst/>
                <a:uLnTx/>
                <a:uFillTx/>
                <a:latin typeface="Arial" panose="020B0604020202020204"/>
                <a:ea typeface="+mn-ea"/>
                <a:cs typeface="+mn-cs"/>
              </a:rPr>
              <a:t>Systems and tools</a:t>
            </a:r>
            <a:r>
              <a:rPr kumimoji="0" lang="en-GB" sz="1108" b="1" i="0" u="none" strike="noStrike" kern="1200" cap="none" spc="0" normalizeH="0" baseline="0" noProof="0" dirty="0">
                <a:ln>
                  <a:noFill/>
                </a:ln>
                <a:solidFill>
                  <a:srgbClr val="FFFFFF"/>
                </a:solidFill>
                <a:effectLst/>
                <a:uLnTx/>
                <a:uFillTx/>
                <a:latin typeface="Arial" panose="020B0604020202020204"/>
                <a:ea typeface="+mn-ea"/>
                <a:cs typeface="+mn-cs"/>
              </a:rPr>
              <a:t> </a:t>
            </a:r>
            <a:r>
              <a:rPr kumimoji="0" lang="en-GB" sz="1108" b="0" i="0" u="none" strike="noStrike" kern="1200" cap="none" spc="0" normalizeH="0" baseline="0" noProof="0" dirty="0">
                <a:ln>
                  <a:noFill/>
                </a:ln>
                <a:solidFill>
                  <a:srgbClr val="FFFFFF"/>
                </a:solidFill>
                <a:effectLst/>
                <a:uLnTx/>
                <a:uFillTx/>
                <a:latin typeface="Arial" panose="020B0604020202020204"/>
                <a:ea typeface="+mn-ea"/>
                <a:cs typeface="+mn-cs"/>
              </a:rPr>
              <a:t>were also readily discussed. Systems were described as unintuitive, outdated and time consuming to manage. </a:t>
            </a:r>
            <a:endParaRPr kumimoji="0" lang="en-GB" sz="1108" b="0" i="0" u="none" strike="noStrike" kern="1200" cap="none" spc="0" normalizeH="0" baseline="0" noProof="0" dirty="0">
              <a:ln>
                <a:noFill/>
              </a:ln>
              <a:solidFill>
                <a:srgbClr val="FFFFFF"/>
              </a:solidFill>
              <a:effectLst/>
              <a:uLnTx/>
              <a:uFillTx/>
              <a:latin typeface="Arial" panose="020B0604020202020204"/>
              <a:ea typeface="+mn-ea"/>
              <a:cs typeface="Arial"/>
            </a:endParaRPr>
          </a:p>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1015" b="0" i="0" u="none" strike="noStrike" kern="1200" cap="none" spc="0" normalizeH="0" baseline="0" noProof="0" dirty="0">
              <a:ln>
                <a:noFill/>
              </a:ln>
              <a:solidFill>
                <a:srgbClr val="FFFFFF"/>
              </a:solidFill>
              <a:effectLst/>
              <a:uLnTx/>
              <a:uFillTx/>
              <a:latin typeface="Arial" panose="020B0604020202020204"/>
              <a:ea typeface="+mn-ea"/>
              <a:cs typeface="Arial"/>
            </a:endParaRPr>
          </a:p>
        </p:txBody>
      </p:sp>
      <p:sp>
        <p:nvSpPr>
          <p:cNvPr id="11" name="TextBox 10">
            <a:extLst>
              <a:ext uri="{FF2B5EF4-FFF2-40B4-BE49-F238E27FC236}">
                <a16:creationId xmlns:a16="http://schemas.microsoft.com/office/drawing/2014/main" id="{A1654D83-8A7B-40F5-A88F-97DBD324421F}"/>
              </a:ext>
            </a:extLst>
          </p:cNvPr>
          <p:cNvSpPr txBox="1"/>
          <p:nvPr/>
        </p:nvSpPr>
        <p:spPr>
          <a:xfrm>
            <a:off x="5869062" y="2341179"/>
            <a:ext cx="1654148" cy="425203"/>
          </a:xfrm>
          <a:prstGeom prst="rect">
            <a:avLst/>
          </a:prstGeom>
          <a:ln>
            <a:prstDash val="sysDot"/>
          </a:ln>
        </p:spPr>
        <p:style>
          <a:lnRef idx="2">
            <a:schemeClr val="accent3"/>
          </a:lnRef>
          <a:fillRef idx="1">
            <a:schemeClr val="lt1"/>
          </a:fillRef>
          <a:effectRef idx="0">
            <a:schemeClr val="accent3"/>
          </a:effectRef>
          <a:fontRef idx="minor">
            <a:schemeClr val="dk1"/>
          </a:fontRef>
        </p:style>
        <p:txBody>
          <a:bodyPr wrap="square"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015" b="0" i="0" u="none" strike="noStrike" kern="1200" cap="none" spc="0" normalizeH="0" baseline="0" noProof="0">
                <a:ln>
                  <a:noFill/>
                </a:ln>
                <a:solidFill>
                  <a:srgbClr val="E9EFF6">
                    <a:lumMod val="10000"/>
                  </a:srgbClr>
                </a:solidFill>
                <a:effectLst/>
                <a:uLnTx/>
                <a:uFillTx/>
                <a:latin typeface="Arial" panose="020B0604020202020204"/>
                <a:ea typeface="+mn-ea"/>
                <a:cs typeface="+mn-cs"/>
              </a:rPr>
              <a:t>Management information, data and reporting</a:t>
            </a:r>
          </a:p>
        </p:txBody>
      </p:sp>
      <p:sp>
        <p:nvSpPr>
          <p:cNvPr id="29" name="TextBox 28">
            <a:extLst>
              <a:ext uri="{FF2B5EF4-FFF2-40B4-BE49-F238E27FC236}">
                <a16:creationId xmlns:a16="http://schemas.microsoft.com/office/drawing/2014/main" id="{0D19F74A-AA3E-4A96-8046-A8CB99490063}"/>
              </a:ext>
            </a:extLst>
          </p:cNvPr>
          <p:cNvSpPr txBox="1"/>
          <p:nvPr/>
        </p:nvSpPr>
        <p:spPr>
          <a:xfrm>
            <a:off x="1523875" y="3645860"/>
            <a:ext cx="1033364" cy="411937"/>
          </a:xfrm>
          <a:prstGeom prst="rect">
            <a:avLst/>
          </a:prstGeom>
          <a:ln>
            <a:prstDash val="sysDot"/>
          </a:ln>
        </p:spPr>
        <p:style>
          <a:lnRef idx="2">
            <a:schemeClr val="accent3"/>
          </a:lnRef>
          <a:fillRef idx="1">
            <a:schemeClr val="lt1"/>
          </a:fillRef>
          <a:effectRef idx="0">
            <a:schemeClr val="accent3"/>
          </a:effectRef>
          <a:fontRef idx="minor">
            <a:schemeClr val="dk1"/>
          </a:fontRef>
        </p:style>
        <p:txBody>
          <a:bodyPr wrap="square"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108" b="0" i="0" u="none" strike="noStrike" kern="1200" cap="none" spc="0" normalizeH="0" baseline="0" noProof="0">
                <a:ln>
                  <a:noFill/>
                </a:ln>
                <a:solidFill>
                  <a:srgbClr val="E9EFF6">
                    <a:lumMod val="10000"/>
                  </a:srgbClr>
                </a:solidFill>
                <a:effectLst/>
                <a:uLnTx/>
                <a:uFillTx/>
                <a:latin typeface="Arial" panose="020B0604020202020204"/>
                <a:ea typeface="+mn-ea"/>
                <a:cs typeface="+mn-cs"/>
              </a:rPr>
              <a:t>Processes and policies</a:t>
            </a:r>
          </a:p>
        </p:txBody>
      </p:sp>
      <p:sp>
        <p:nvSpPr>
          <p:cNvPr id="30" name="TextBox 29">
            <a:extLst>
              <a:ext uri="{FF2B5EF4-FFF2-40B4-BE49-F238E27FC236}">
                <a16:creationId xmlns:a16="http://schemas.microsoft.com/office/drawing/2014/main" id="{DFDE189D-DBA1-4596-9A52-C46070487A63}"/>
              </a:ext>
            </a:extLst>
          </p:cNvPr>
          <p:cNvSpPr txBox="1"/>
          <p:nvPr/>
        </p:nvSpPr>
        <p:spPr>
          <a:xfrm>
            <a:off x="1523876" y="2362466"/>
            <a:ext cx="1033363" cy="402715"/>
          </a:xfrm>
          <a:prstGeom prst="rect">
            <a:avLst/>
          </a:prstGeom>
          <a:ln>
            <a:prstDash val="sysDot"/>
          </a:ln>
        </p:spPr>
        <p:style>
          <a:lnRef idx="2">
            <a:schemeClr val="accent3"/>
          </a:lnRef>
          <a:fillRef idx="1">
            <a:schemeClr val="lt1"/>
          </a:fillRef>
          <a:effectRef idx="0">
            <a:schemeClr val="accent3"/>
          </a:effectRef>
          <a:fontRef idx="minor">
            <a:schemeClr val="dk1"/>
          </a:fontRef>
        </p:style>
        <p:txBody>
          <a:bodyPr wrap="square"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015" b="0" i="0" u="none" strike="noStrike" kern="1200" cap="none" spc="0" normalizeH="0" baseline="0" noProof="0">
                <a:ln>
                  <a:noFill/>
                </a:ln>
                <a:solidFill>
                  <a:srgbClr val="E9EFF6">
                    <a:lumMod val="10000"/>
                  </a:srgbClr>
                </a:solidFill>
                <a:effectLst/>
                <a:uLnTx/>
                <a:uFillTx/>
                <a:latin typeface="Arial" panose="020B0604020202020204"/>
                <a:ea typeface="+mn-ea"/>
                <a:cs typeface="+mn-cs"/>
              </a:rPr>
              <a:t>People and organisation</a:t>
            </a:r>
          </a:p>
        </p:txBody>
      </p:sp>
      <p:sp>
        <p:nvSpPr>
          <p:cNvPr id="35" name="TextBox 34">
            <a:extLst>
              <a:ext uri="{FF2B5EF4-FFF2-40B4-BE49-F238E27FC236}">
                <a16:creationId xmlns:a16="http://schemas.microsoft.com/office/drawing/2014/main" id="{CF176681-9C69-4DD5-9344-F5771F9D9A6F}"/>
              </a:ext>
            </a:extLst>
          </p:cNvPr>
          <p:cNvSpPr txBox="1"/>
          <p:nvPr/>
        </p:nvSpPr>
        <p:spPr>
          <a:xfrm>
            <a:off x="6181196" y="3274563"/>
            <a:ext cx="1033364" cy="433296"/>
          </a:xfrm>
          <a:prstGeom prst="rect">
            <a:avLst/>
          </a:prstGeom>
          <a:ln>
            <a:prstDash val="sysDot"/>
          </a:ln>
        </p:spPr>
        <p:style>
          <a:lnRef idx="2">
            <a:schemeClr val="accent3"/>
          </a:lnRef>
          <a:fillRef idx="1">
            <a:schemeClr val="lt1"/>
          </a:fillRef>
          <a:effectRef idx="0">
            <a:schemeClr val="accent3"/>
          </a:effectRef>
          <a:fontRef idx="minor">
            <a:schemeClr val="dk1"/>
          </a:fontRef>
        </p:style>
        <p:txBody>
          <a:bodyPr wrap="square"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108" b="0" i="0" u="none" strike="noStrike" kern="1200" cap="none" spc="0" normalizeH="0" baseline="0" noProof="0">
                <a:ln>
                  <a:noFill/>
                </a:ln>
                <a:solidFill>
                  <a:srgbClr val="E9EFF6">
                    <a:lumMod val="10000"/>
                  </a:srgbClr>
                </a:solidFill>
                <a:effectLst/>
                <a:uLnTx/>
                <a:uFillTx/>
                <a:latin typeface="Arial" panose="020B0604020202020204"/>
                <a:ea typeface="+mn-ea"/>
                <a:cs typeface="+mn-cs"/>
              </a:rPr>
              <a:t>Systems</a:t>
            </a:r>
            <a:r>
              <a:rPr kumimoji="0" lang="en-GB" sz="1108" b="0" i="0" u="none" strike="noStrike" kern="1200" cap="none" spc="0" normalizeH="0" baseline="0" noProof="0">
                <a:ln>
                  <a:noFill/>
                </a:ln>
                <a:solidFill>
                  <a:srgbClr val="293947"/>
                </a:solidFill>
                <a:effectLst/>
                <a:uLnTx/>
                <a:uFillTx/>
                <a:latin typeface="Arial" panose="020B0604020202020204"/>
                <a:ea typeface="+mn-ea"/>
                <a:cs typeface="+mn-cs"/>
              </a:rPr>
              <a:t> and tools</a:t>
            </a:r>
          </a:p>
        </p:txBody>
      </p:sp>
      <p:sp>
        <p:nvSpPr>
          <p:cNvPr id="36" name="TextBox 35">
            <a:extLst>
              <a:ext uri="{FF2B5EF4-FFF2-40B4-BE49-F238E27FC236}">
                <a16:creationId xmlns:a16="http://schemas.microsoft.com/office/drawing/2014/main" id="{B9B4C487-5ABB-42CF-A308-63E51AAD4F71}"/>
              </a:ext>
            </a:extLst>
          </p:cNvPr>
          <p:cNvSpPr txBox="1"/>
          <p:nvPr/>
        </p:nvSpPr>
        <p:spPr>
          <a:xfrm>
            <a:off x="4233541" y="1720526"/>
            <a:ext cx="1205440" cy="396846"/>
          </a:xfrm>
          <a:prstGeom prst="rect">
            <a:avLst/>
          </a:prstGeom>
          <a:ln>
            <a:prstDash val="sysDot"/>
          </a:ln>
        </p:spPr>
        <p:style>
          <a:lnRef idx="2">
            <a:schemeClr val="accent3"/>
          </a:lnRef>
          <a:fillRef idx="1">
            <a:schemeClr val="lt1"/>
          </a:fillRef>
          <a:effectRef idx="0">
            <a:schemeClr val="accent3"/>
          </a:effectRef>
          <a:fontRef idx="minor">
            <a:schemeClr val="dk1"/>
          </a:fontRef>
        </p:style>
        <p:txBody>
          <a:bodyPr wrap="square" rtlCol="0">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1108" b="0" i="0" u="none" strike="noStrike" kern="1200" cap="none" spc="0" normalizeH="0" baseline="0" noProof="0">
                <a:ln>
                  <a:noFill/>
                </a:ln>
                <a:solidFill>
                  <a:srgbClr val="E9EFF6">
                    <a:lumMod val="10000"/>
                  </a:srgbClr>
                </a:solidFill>
                <a:effectLst/>
                <a:uLnTx/>
                <a:uFillTx/>
                <a:latin typeface="Arial" panose="020B0604020202020204"/>
                <a:ea typeface="+mn-ea"/>
                <a:cs typeface="+mn-cs"/>
              </a:rPr>
              <a:t>Governance and control</a:t>
            </a:r>
          </a:p>
        </p:txBody>
      </p:sp>
    </p:spTree>
    <p:custDataLst>
      <p:tags r:id="rId1"/>
    </p:custDataLst>
    <p:extLst>
      <p:ext uri="{BB962C8B-B14F-4D97-AF65-F5344CB8AC3E}">
        <p14:creationId xmlns:p14="http://schemas.microsoft.com/office/powerpoint/2010/main" val="346270242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6" name="Rectangle 215">
            <a:extLst>
              <a:ext uri="{FF2B5EF4-FFF2-40B4-BE49-F238E27FC236}">
                <a16:creationId xmlns:a16="http://schemas.microsoft.com/office/drawing/2014/main" id="{3ADE0002-4BEE-4396-A707-4535B568D4CF}"/>
              </a:ext>
            </a:extLst>
          </p:cNvPr>
          <p:cNvSpPr/>
          <p:nvPr/>
        </p:nvSpPr>
        <p:spPr>
          <a:xfrm>
            <a:off x="6011186" y="1358214"/>
            <a:ext cx="2579634" cy="307865"/>
          </a:xfrm>
          <a:prstGeom prst="rect">
            <a:avLst/>
          </a:prstGeom>
          <a:noFill/>
          <a:ln w="12700" cap="flat" cmpd="sng" algn="ctr">
            <a:solidFill>
              <a:schemeClr val="accent1"/>
            </a:solidFill>
            <a:prstDash val="solid"/>
            <a:miter lim="800000"/>
          </a:ln>
          <a:effectLst/>
        </p:spPr>
        <p:txBody>
          <a:bodyPr lIns="33231" tIns="33231" rIns="33231" bIns="33231" rtlCol="0" anchor="t"/>
          <a:lstStyle/>
          <a:p>
            <a:pPr marL="0" marR="0" lvl="0" indent="0" algn="l" defTabSz="844083" rtl="0" eaLnBrk="1" fontAlgn="auto" latinLnBrk="0" hangingPunct="1">
              <a:lnSpc>
                <a:spcPct val="100000"/>
              </a:lnSpc>
              <a:spcBef>
                <a:spcPts val="0"/>
              </a:spcBef>
              <a:spcAft>
                <a:spcPts val="0"/>
              </a:spcAft>
              <a:buClrTx/>
              <a:buSzTx/>
              <a:buFontTx/>
              <a:buNone/>
              <a:tabLst/>
              <a:defRPr/>
            </a:pPr>
            <a:endParaRPr kumimoji="0" lang="en-GB" sz="646" b="1" i="0" u="none" strike="noStrike" kern="0" cap="none" spc="0" normalizeH="0" baseline="0" noProof="0">
              <a:ln>
                <a:noFill/>
              </a:ln>
              <a:solidFill>
                <a:srgbClr val="293947"/>
              </a:solidFill>
              <a:effectLst/>
              <a:uLnTx/>
              <a:uFillTx/>
              <a:latin typeface="Arial" panose="020B0604020202020204"/>
              <a:ea typeface="+mn-ea"/>
              <a:cs typeface="+mn-cs"/>
            </a:endParaRPr>
          </a:p>
        </p:txBody>
      </p:sp>
      <p:sp>
        <p:nvSpPr>
          <p:cNvPr id="319" name="Rectangle 318">
            <a:extLst>
              <a:ext uri="{FF2B5EF4-FFF2-40B4-BE49-F238E27FC236}">
                <a16:creationId xmlns:a16="http://schemas.microsoft.com/office/drawing/2014/main" id="{0DFA5A73-43B9-4DF4-9DCF-7AF95ED89C87}"/>
              </a:ext>
            </a:extLst>
          </p:cNvPr>
          <p:cNvSpPr/>
          <p:nvPr/>
        </p:nvSpPr>
        <p:spPr>
          <a:xfrm>
            <a:off x="6083555" y="1533055"/>
            <a:ext cx="165007" cy="99692"/>
          </a:xfrm>
          <a:prstGeom prst="rect">
            <a:avLst/>
          </a:prstGeom>
          <a:solidFill>
            <a:srgbClr val="F5F8FA"/>
          </a:solidFill>
          <a:ln w="19050"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646" b="0" i="0" u="none" strike="noStrike" kern="0" cap="none" spc="0" normalizeH="0" baseline="0" noProof="0">
              <a:ln>
                <a:noFill/>
              </a:ln>
              <a:solidFill>
                <a:srgbClr val="003300"/>
              </a:solidFill>
              <a:effectLst/>
              <a:uLnTx/>
              <a:uFillTx/>
              <a:latin typeface="Arial" panose="020B0604020202020204"/>
              <a:ea typeface="+mn-ea"/>
              <a:cs typeface="+mn-cs"/>
            </a:endParaRPr>
          </a:p>
        </p:txBody>
      </p:sp>
      <p:sp>
        <p:nvSpPr>
          <p:cNvPr id="321" name="TextBox 320">
            <a:extLst>
              <a:ext uri="{FF2B5EF4-FFF2-40B4-BE49-F238E27FC236}">
                <a16:creationId xmlns:a16="http://schemas.microsoft.com/office/drawing/2014/main" id="{1FC81B67-C4CB-477C-B8D9-B3C5B7BABE56}"/>
              </a:ext>
            </a:extLst>
          </p:cNvPr>
          <p:cNvSpPr txBox="1"/>
          <p:nvPr/>
        </p:nvSpPr>
        <p:spPr>
          <a:xfrm>
            <a:off x="6246149" y="1499628"/>
            <a:ext cx="432581" cy="166548"/>
          </a:xfrm>
          <a:prstGeom prst="rect">
            <a:avLst/>
          </a:prstGeom>
          <a:solidFill>
            <a:srgbClr val="F5F8FA"/>
          </a:solidFill>
        </p:spPr>
        <p:txBody>
          <a:bodyPr wrap="square" lIns="66462"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rPr>
              <a:t>High</a:t>
            </a:r>
          </a:p>
        </p:txBody>
      </p:sp>
      <p:sp>
        <p:nvSpPr>
          <p:cNvPr id="322" name="Rectangle 321">
            <a:extLst>
              <a:ext uri="{FF2B5EF4-FFF2-40B4-BE49-F238E27FC236}">
                <a16:creationId xmlns:a16="http://schemas.microsoft.com/office/drawing/2014/main" id="{580A3D13-A48D-435F-BECA-D3B2A4B9A182}"/>
              </a:ext>
            </a:extLst>
          </p:cNvPr>
          <p:cNvSpPr/>
          <p:nvPr/>
        </p:nvSpPr>
        <p:spPr>
          <a:xfrm>
            <a:off x="6626146" y="1533055"/>
            <a:ext cx="166154" cy="99692"/>
          </a:xfrm>
          <a:prstGeom prst="rect">
            <a:avLst/>
          </a:prstGeom>
          <a:solidFill>
            <a:srgbClr val="F5F8FA"/>
          </a:solidFill>
          <a:ln w="19050" cap="flat" cmpd="sng" algn="ctr">
            <a:solidFill>
              <a:srgbClr val="FFC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646" b="0" i="0" u="none" strike="noStrike" kern="0" cap="none" spc="0" normalizeH="0" baseline="0" noProof="0">
              <a:ln>
                <a:noFill/>
              </a:ln>
              <a:solidFill>
                <a:srgbClr val="003300"/>
              </a:solidFill>
              <a:effectLst/>
              <a:uLnTx/>
              <a:uFillTx/>
              <a:latin typeface="Arial" panose="020B0604020202020204"/>
              <a:ea typeface="+mn-ea"/>
              <a:cs typeface="+mn-cs"/>
            </a:endParaRPr>
          </a:p>
        </p:txBody>
      </p:sp>
      <p:sp>
        <p:nvSpPr>
          <p:cNvPr id="323" name="TextBox 322">
            <a:extLst>
              <a:ext uri="{FF2B5EF4-FFF2-40B4-BE49-F238E27FC236}">
                <a16:creationId xmlns:a16="http://schemas.microsoft.com/office/drawing/2014/main" id="{AB490FDA-12AF-40E8-B807-2C9D6C79CC9A}"/>
              </a:ext>
            </a:extLst>
          </p:cNvPr>
          <p:cNvSpPr txBox="1"/>
          <p:nvPr/>
        </p:nvSpPr>
        <p:spPr>
          <a:xfrm>
            <a:off x="6792783" y="1499628"/>
            <a:ext cx="593481" cy="166548"/>
          </a:xfrm>
          <a:prstGeom prst="rect">
            <a:avLst/>
          </a:prstGeom>
          <a:solidFill>
            <a:srgbClr val="F5F8FA"/>
          </a:solidFill>
        </p:spPr>
        <p:txBody>
          <a:bodyPr wrap="square" lIns="66462"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rPr>
              <a:t>Medium</a:t>
            </a:r>
          </a:p>
        </p:txBody>
      </p:sp>
      <p:sp>
        <p:nvSpPr>
          <p:cNvPr id="324" name="Rectangle 323">
            <a:extLst>
              <a:ext uri="{FF2B5EF4-FFF2-40B4-BE49-F238E27FC236}">
                <a16:creationId xmlns:a16="http://schemas.microsoft.com/office/drawing/2014/main" id="{10773561-1B58-4169-B738-F76AD55CE12B}"/>
              </a:ext>
            </a:extLst>
          </p:cNvPr>
          <p:cNvSpPr/>
          <p:nvPr/>
        </p:nvSpPr>
        <p:spPr>
          <a:xfrm>
            <a:off x="7352040" y="1533055"/>
            <a:ext cx="166154" cy="99692"/>
          </a:xfrm>
          <a:prstGeom prst="rect">
            <a:avLst/>
          </a:prstGeom>
          <a:solidFill>
            <a:srgbClr val="F5F8FA"/>
          </a:solidFill>
          <a:ln w="19050"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646" b="0" i="0" u="none" strike="noStrike" kern="0" cap="none" spc="0" normalizeH="0" baseline="0" noProof="0">
              <a:ln>
                <a:noFill/>
              </a:ln>
              <a:solidFill>
                <a:srgbClr val="003300"/>
              </a:solidFill>
              <a:effectLst/>
              <a:uLnTx/>
              <a:uFillTx/>
              <a:latin typeface="Arial" panose="020B0604020202020204"/>
              <a:ea typeface="+mn-ea"/>
              <a:cs typeface="+mn-cs"/>
            </a:endParaRPr>
          </a:p>
        </p:txBody>
      </p:sp>
      <p:sp>
        <p:nvSpPr>
          <p:cNvPr id="325" name="TextBox 324">
            <a:extLst>
              <a:ext uri="{FF2B5EF4-FFF2-40B4-BE49-F238E27FC236}">
                <a16:creationId xmlns:a16="http://schemas.microsoft.com/office/drawing/2014/main" id="{8C7EB142-B8A7-4670-9C5F-BCCFDF22B874}"/>
              </a:ext>
            </a:extLst>
          </p:cNvPr>
          <p:cNvSpPr txBox="1"/>
          <p:nvPr/>
        </p:nvSpPr>
        <p:spPr>
          <a:xfrm>
            <a:off x="7531608" y="1499628"/>
            <a:ext cx="432581" cy="166548"/>
          </a:xfrm>
          <a:prstGeom prst="rect">
            <a:avLst/>
          </a:prstGeom>
          <a:solidFill>
            <a:srgbClr val="F5F8FA"/>
          </a:solidFill>
        </p:spPr>
        <p:txBody>
          <a:bodyPr wrap="square" lIns="66462"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rPr>
              <a:t>Low</a:t>
            </a:r>
          </a:p>
        </p:txBody>
      </p:sp>
      <p:sp>
        <p:nvSpPr>
          <p:cNvPr id="242" name="Rectangle 241">
            <a:extLst>
              <a:ext uri="{FF2B5EF4-FFF2-40B4-BE49-F238E27FC236}">
                <a16:creationId xmlns:a16="http://schemas.microsoft.com/office/drawing/2014/main" id="{EE6BEC05-25CF-420F-A443-7B738B11E880}"/>
              </a:ext>
            </a:extLst>
          </p:cNvPr>
          <p:cNvSpPr/>
          <p:nvPr/>
        </p:nvSpPr>
        <p:spPr>
          <a:xfrm>
            <a:off x="2323785" y="4979220"/>
            <a:ext cx="1728000" cy="844062"/>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Inventory</a:t>
            </a:r>
          </a:p>
        </p:txBody>
      </p:sp>
      <p:sp>
        <p:nvSpPr>
          <p:cNvPr id="281" name="Rectangle 280">
            <a:extLst>
              <a:ext uri="{FF2B5EF4-FFF2-40B4-BE49-F238E27FC236}">
                <a16:creationId xmlns:a16="http://schemas.microsoft.com/office/drawing/2014/main" id="{68C924A3-C8EF-48FF-9247-829B76D48154}"/>
              </a:ext>
            </a:extLst>
          </p:cNvPr>
          <p:cNvSpPr/>
          <p:nvPr/>
        </p:nvSpPr>
        <p:spPr>
          <a:xfrm>
            <a:off x="1354415" y="4674687"/>
            <a:ext cx="898135" cy="541935"/>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dirty="0">
                <a:ln>
                  <a:noFill/>
                </a:ln>
                <a:solidFill>
                  <a:srgbClr val="293947"/>
                </a:solidFill>
                <a:effectLst/>
                <a:uLnTx/>
                <a:uFillTx/>
                <a:latin typeface="Arial" panose="020B0604020202020204"/>
                <a:ea typeface="+mn-ea"/>
                <a:cs typeface="+mn-cs"/>
              </a:rPr>
              <a:t>System Admin</a:t>
            </a:r>
          </a:p>
        </p:txBody>
      </p:sp>
      <p:sp>
        <p:nvSpPr>
          <p:cNvPr id="284" name="Rectangle 283">
            <a:extLst>
              <a:ext uri="{FF2B5EF4-FFF2-40B4-BE49-F238E27FC236}">
                <a16:creationId xmlns:a16="http://schemas.microsoft.com/office/drawing/2014/main" id="{1BA43A61-10A0-409F-A1A5-FD03EEAB9F8E}"/>
              </a:ext>
            </a:extLst>
          </p:cNvPr>
          <p:cNvSpPr/>
          <p:nvPr/>
        </p:nvSpPr>
        <p:spPr>
          <a:xfrm>
            <a:off x="1429637" y="4893689"/>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intain / upgrade systems</a:t>
            </a:r>
          </a:p>
        </p:txBody>
      </p:sp>
      <p:grpSp>
        <p:nvGrpSpPr>
          <p:cNvPr id="7" name="Group 6">
            <a:extLst>
              <a:ext uri="{FF2B5EF4-FFF2-40B4-BE49-F238E27FC236}">
                <a16:creationId xmlns:a16="http://schemas.microsoft.com/office/drawing/2014/main" id="{E4BCB082-F667-4F7B-A738-F65550B87081}"/>
              </a:ext>
            </a:extLst>
          </p:cNvPr>
          <p:cNvGrpSpPr/>
          <p:nvPr/>
        </p:nvGrpSpPr>
        <p:grpSpPr>
          <a:xfrm>
            <a:off x="1354415" y="5275168"/>
            <a:ext cx="898135" cy="860411"/>
            <a:chOff x="3466409" y="5411727"/>
            <a:chExt cx="972980" cy="932112"/>
          </a:xfrm>
          <a:noFill/>
        </p:grpSpPr>
        <p:sp>
          <p:nvSpPr>
            <p:cNvPr id="287" name="Rectangle 286">
              <a:extLst>
                <a:ext uri="{FF2B5EF4-FFF2-40B4-BE49-F238E27FC236}">
                  <a16:creationId xmlns:a16="http://schemas.microsoft.com/office/drawing/2014/main" id="{B954C4D8-B092-4FF3-9685-88C80749B62F}"/>
                </a:ext>
              </a:extLst>
            </p:cNvPr>
            <p:cNvSpPr/>
            <p:nvPr/>
          </p:nvSpPr>
          <p:spPr>
            <a:xfrm>
              <a:off x="3466409" y="5411727"/>
              <a:ext cx="972980" cy="932112"/>
            </a:xfrm>
            <a:prstGeom prst="rect">
              <a:avLst/>
            </a:prstGeom>
            <a:grp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Fin. Training</a:t>
              </a:r>
            </a:p>
          </p:txBody>
        </p:sp>
        <p:sp>
          <p:nvSpPr>
            <p:cNvPr id="289" name="Rectangle 288">
              <a:extLst>
                <a:ext uri="{FF2B5EF4-FFF2-40B4-BE49-F238E27FC236}">
                  <a16:creationId xmlns:a16="http://schemas.microsoft.com/office/drawing/2014/main" id="{A973A73B-94A3-4AA2-9329-F335375F04C6}"/>
                </a:ext>
              </a:extLst>
            </p:cNvPr>
            <p:cNvSpPr/>
            <p:nvPr/>
          </p:nvSpPr>
          <p:spPr>
            <a:xfrm>
              <a:off x="3547899" y="5655619"/>
              <a:ext cx="810000" cy="270000"/>
            </a:xfrm>
            <a:prstGeom prst="rect">
              <a:avLst/>
            </a:prstGeom>
            <a:grp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Train staff</a:t>
              </a:r>
            </a:p>
          </p:txBody>
        </p:sp>
        <p:sp>
          <p:nvSpPr>
            <p:cNvPr id="291" name="Rectangle 290">
              <a:extLst>
                <a:ext uri="{FF2B5EF4-FFF2-40B4-BE49-F238E27FC236}">
                  <a16:creationId xmlns:a16="http://schemas.microsoft.com/office/drawing/2014/main" id="{32426E12-3DCB-46FE-BC8B-6EEA6340F894}"/>
                </a:ext>
              </a:extLst>
            </p:cNvPr>
            <p:cNvSpPr/>
            <p:nvPr/>
          </p:nvSpPr>
          <p:spPr>
            <a:xfrm>
              <a:off x="3547899" y="5983858"/>
              <a:ext cx="810000" cy="270000"/>
            </a:xfrm>
            <a:prstGeom prst="rect">
              <a:avLst/>
            </a:prstGeom>
            <a:grp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Narrow" panose="020B0606020202030204" pitchFamily="34" charset="0"/>
                  <a:ea typeface="+mn-ea"/>
                  <a:cs typeface="+mn-cs"/>
                </a:rPr>
                <a:t>Vocational and professional training</a:t>
              </a:r>
            </a:p>
          </p:txBody>
        </p:sp>
      </p:grpSp>
      <p:grpSp>
        <p:nvGrpSpPr>
          <p:cNvPr id="10" name="Group 9">
            <a:extLst>
              <a:ext uri="{FF2B5EF4-FFF2-40B4-BE49-F238E27FC236}">
                <a16:creationId xmlns:a16="http://schemas.microsoft.com/office/drawing/2014/main" id="{21A1A961-957D-43F3-BDBD-A91A2D046E65}"/>
              </a:ext>
            </a:extLst>
          </p:cNvPr>
          <p:cNvGrpSpPr/>
          <p:nvPr/>
        </p:nvGrpSpPr>
        <p:grpSpPr>
          <a:xfrm>
            <a:off x="1352017" y="4068216"/>
            <a:ext cx="897231" cy="541935"/>
            <a:chOff x="4430650" y="5756743"/>
            <a:chExt cx="972000" cy="587096"/>
          </a:xfrm>
          <a:noFill/>
        </p:grpSpPr>
        <p:sp>
          <p:nvSpPr>
            <p:cNvPr id="293" name="Rectangle 292">
              <a:extLst>
                <a:ext uri="{FF2B5EF4-FFF2-40B4-BE49-F238E27FC236}">
                  <a16:creationId xmlns:a16="http://schemas.microsoft.com/office/drawing/2014/main" id="{AD06DBAE-A1A5-42B7-9528-241A62F070D1}"/>
                </a:ext>
              </a:extLst>
            </p:cNvPr>
            <p:cNvSpPr/>
            <p:nvPr/>
          </p:nvSpPr>
          <p:spPr>
            <a:xfrm>
              <a:off x="4430650" y="5756743"/>
              <a:ext cx="972000" cy="587096"/>
            </a:xfrm>
            <a:prstGeom prst="rect">
              <a:avLst/>
            </a:prstGeom>
            <a:grp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Helpdesk</a:t>
              </a:r>
            </a:p>
          </p:txBody>
        </p:sp>
        <p:sp>
          <p:nvSpPr>
            <p:cNvPr id="294" name="Rectangle 293">
              <a:extLst>
                <a:ext uri="{FF2B5EF4-FFF2-40B4-BE49-F238E27FC236}">
                  <a16:creationId xmlns:a16="http://schemas.microsoft.com/office/drawing/2014/main" id="{DB63136E-5220-406F-BC20-C4E1FEC0517F}"/>
                </a:ext>
              </a:extLst>
            </p:cNvPr>
            <p:cNvSpPr/>
            <p:nvPr/>
          </p:nvSpPr>
          <p:spPr>
            <a:xfrm>
              <a:off x="4511650" y="5984092"/>
              <a:ext cx="810000" cy="270000"/>
            </a:xfrm>
            <a:prstGeom prst="rect">
              <a:avLst/>
            </a:prstGeom>
            <a:grp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Log and respond to query / issue</a:t>
              </a:r>
            </a:p>
          </p:txBody>
        </p:sp>
      </p:grpSp>
      <p:grpSp>
        <p:nvGrpSpPr>
          <p:cNvPr id="6" name="Group 5">
            <a:extLst>
              <a:ext uri="{FF2B5EF4-FFF2-40B4-BE49-F238E27FC236}">
                <a16:creationId xmlns:a16="http://schemas.microsoft.com/office/drawing/2014/main" id="{44A09B96-8633-4BC7-8498-FA8640E455B7}"/>
              </a:ext>
            </a:extLst>
          </p:cNvPr>
          <p:cNvGrpSpPr/>
          <p:nvPr/>
        </p:nvGrpSpPr>
        <p:grpSpPr>
          <a:xfrm>
            <a:off x="476442" y="5278537"/>
            <a:ext cx="847385" cy="857042"/>
            <a:chOff x="509563" y="5432665"/>
            <a:chExt cx="918000" cy="928462"/>
          </a:xfrm>
          <a:noFill/>
        </p:grpSpPr>
        <p:sp>
          <p:nvSpPr>
            <p:cNvPr id="300" name="Rectangle 299">
              <a:extLst>
                <a:ext uri="{FF2B5EF4-FFF2-40B4-BE49-F238E27FC236}">
                  <a16:creationId xmlns:a16="http://schemas.microsoft.com/office/drawing/2014/main" id="{23E0662F-2BA5-4696-A51D-3E7B49E9CB5C}"/>
                </a:ext>
              </a:extLst>
            </p:cNvPr>
            <p:cNvSpPr/>
            <p:nvPr/>
          </p:nvSpPr>
          <p:spPr>
            <a:xfrm>
              <a:off x="509563" y="5432665"/>
              <a:ext cx="918000" cy="928462"/>
            </a:xfrm>
            <a:prstGeom prst="rect">
              <a:avLst/>
            </a:prstGeom>
            <a:grp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Overheads</a:t>
              </a:r>
            </a:p>
          </p:txBody>
        </p:sp>
        <p:sp>
          <p:nvSpPr>
            <p:cNvPr id="301" name="Rectangle 300">
              <a:extLst>
                <a:ext uri="{FF2B5EF4-FFF2-40B4-BE49-F238E27FC236}">
                  <a16:creationId xmlns:a16="http://schemas.microsoft.com/office/drawing/2014/main" id="{688ACCBC-642E-4810-82D7-BA7DDCE8B5BA}"/>
                </a:ext>
              </a:extLst>
            </p:cNvPr>
            <p:cNvSpPr/>
            <p:nvPr/>
          </p:nvSpPr>
          <p:spPr>
            <a:xfrm>
              <a:off x="563563" y="6013819"/>
              <a:ext cx="810000" cy="270000"/>
            </a:xfrm>
            <a:prstGeom prst="rect">
              <a:avLst/>
            </a:prstGeom>
            <a:grp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CC</a:t>
              </a:r>
            </a:p>
          </p:txBody>
        </p:sp>
        <p:sp>
          <p:nvSpPr>
            <p:cNvPr id="302" name="Rectangle 301">
              <a:extLst>
                <a:ext uri="{FF2B5EF4-FFF2-40B4-BE49-F238E27FC236}">
                  <a16:creationId xmlns:a16="http://schemas.microsoft.com/office/drawing/2014/main" id="{B25651A5-B481-42BE-A8DB-882F497DD4BB}"/>
                </a:ext>
              </a:extLst>
            </p:cNvPr>
            <p:cNvSpPr/>
            <p:nvPr/>
          </p:nvSpPr>
          <p:spPr>
            <a:xfrm>
              <a:off x="563563" y="5676557"/>
              <a:ext cx="810000" cy="270000"/>
            </a:xfrm>
            <a:prstGeom prst="rect">
              <a:avLst/>
            </a:prstGeom>
            <a:grp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search grant overheads</a:t>
              </a:r>
            </a:p>
          </p:txBody>
        </p:sp>
      </p:grpSp>
      <p:sp>
        <p:nvSpPr>
          <p:cNvPr id="241" name="Rectangle 240">
            <a:extLst>
              <a:ext uri="{FF2B5EF4-FFF2-40B4-BE49-F238E27FC236}">
                <a16:creationId xmlns:a16="http://schemas.microsoft.com/office/drawing/2014/main" id="{88FD054D-9E8E-4E94-9F59-A2A6BCE59679}"/>
              </a:ext>
            </a:extLst>
          </p:cNvPr>
          <p:cNvSpPr/>
          <p:nvPr/>
        </p:nvSpPr>
        <p:spPr>
          <a:xfrm>
            <a:off x="4085850" y="2596486"/>
            <a:ext cx="847385" cy="1733457"/>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Fixed Assets</a:t>
            </a:r>
          </a:p>
        </p:txBody>
      </p:sp>
      <p:sp>
        <p:nvSpPr>
          <p:cNvPr id="246" name="Rectangle 245">
            <a:extLst>
              <a:ext uri="{FF2B5EF4-FFF2-40B4-BE49-F238E27FC236}">
                <a16:creationId xmlns:a16="http://schemas.microsoft.com/office/drawing/2014/main" id="{CEB82C89-40A4-42FB-A9F7-3EFBBD0108AA}"/>
              </a:ext>
            </a:extLst>
          </p:cNvPr>
          <p:cNvSpPr/>
          <p:nvPr/>
        </p:nvSpPr>
        <p:spPr>
          <a:xfrm>
            <a:off x="4135697" y="282161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gister / capitalise asset</a:t>
            </a:r>
          </a:p>
        </p:txBody>
      </p:sp>
      <p:sp>
        <p:nvSpPr>
          <p:cNvPr id="247" name="Rectangle 246">
            <a:extLst>
              <a:ext uri="{FF2B5EF4-FFF2-40B4-BE49-F238E27FC236}">
                <a16:creationId xmlns:a16="http://schemas.microsoft.com/office/drawing/2014/main" id="{59304891-9BC2-4B06-AF19-50E8C74E9B50}"/>
              </a:ext>
            </a:extLst>
          </p:cNvPr>
          <p:cNvSpPr/>
          <p:nvPr/>
        </p:nvSpPr>
        <p:spPr>
          <a:xfrm>
            <a:off x="4135697" y="312460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sset tagging</a:t>
            </a:r>
          </a:p>
        </p:txBody>
      </p:sp>
      <p:sp>
        <p:nvSpPr>
          <p:cNvPr id="249" name="Rectangle 248">
            <a:extLst>
              <a:ext uri="{FF2B5EF4-FFF2-40B4-BE49-F238E27FC236}">
                <a16:creationId xmlns:a16="http://schemas.microsoft.com/office/drawing/2014/main" id="{3E2C8562-7D80-4C2A-8449-082279E0D051}"/>
              </a:ext>
            </a:extLst>
          </p:cNvPr>
          <p:cNvSpPr/>
          <p:nvPr/>
        </p:nvSpPr>
        <p:spPr>
          <a:xfrm>
            <a:off x="4970863" y="2596487"/>
            <a:ext cx="847385" cy="1733457"/>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Treasury</a:t>
            </a:r>
          </a:p>
        </p:txBody>
      </p:sp>
      <p:sp>
        <p:nvSpPr>
          <p:cNvPr id="250" name="Rectangle 249">
            <a:extLst>
              <a:ext uri="{FF2B5EF4-FFF2-40B4-BE49-F238E27FC236}">
                <a16:creationId xmlns:a16="http://schemas.microsoft.com/office/drawing/2014/main" id="{3A7A4BD6-EBCB-45B2-A836-D9C2A24B5A63}"/>
              </a:ext>
            </a:extLst>
          </p:cNvPr>
          <p:cNvSpPr/>
          <p:nvPr/>
        </p:nvSpPr>
        <p:spPr>
          <a:xfrm>
            <a:off x="5020710" y="342759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Administer Endowments</a:t>
            </a:r>
            <a:endParaRPr kumimoji="0" lang="en-US" sz="738" b="0" i="0" u="none" strike="noStrike" kern="1200" cap="none" spc="0" normalizeH="0" baseline="0" noProof="0">
              <a:ln>
                <a:noFill/>
              </a:ln>
              <a:solidFill>
                <a:srgbClr val="293947"/>
              </a:solidFill>
              <a:effectLst/>
              <a:uLnTx/>
              <a:uFillTx/>
              <a:latin typeface="Arial" panose="020B0604020202020204"/>
              <a:ea typeface="+mn-ea"/>
              <a:cs typeface="+mn-cs"/>
            </a:endParaRPr>
          </a:p>
        </p:txBody>
      </p:sp>
      <p:sp>
        <p:nvSpPr>
          <p:cNvPr id="251" name="Rectangle 250">
            <a:extLst>
              <a:ext uri="{FF2B5EF4-FFF2-40B4-BE49-F238E27FC236}">
                <a16:creationId xmlns:a16="http://schemas.microsoft.com/office/drawing/2014/main" id="{FBEAA5BD-1A36-44A2-8D32-5F62192176DE}"/>
              </a:ext>
            </a:extLst>
          </p:cNvPr>
          <p:cNvSpPr/>
          <p:nvPr/>
        </p:nvSpPr>
        <p:spPr>
          <a:xfrm>
            <a:off x="5020710" y="282161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Cash monitoring / forecasting</a:t>
            </a:r>
          </a:p>
        </p:txBody>
      </p:sp>
      <p:sp>
        <p:nvSpPr>
          <p:cNvPr id="253" name="Rectangle 252">
            <a:extLst>
              <a:ext uri="{FF2B5EF4-FFF2-40B4-BE49-F238E27FC236}">
                <a16:creationId xmlns:a16="http://schemas.microsoft.com/office/drawing/2014/main" id="{CDE3B2E8-0E26-4146-8C04-58EC1D4F31AF}"/>
              </a:ext>
            </a:extLst>
          </p:cNvPr>
          <p:cNvSpPr/>
          <p:nvPr/>
        </p:nvSpPr>
        <p:spPr>
          <a:xfrm>
            <a:off x="5020710" y="312460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Currency trading and hedging</a:t>
            </a:r>
            <a:endParaRPr kumimoji="0" lang="en-US" sz="738" b="0" i="0" u="none" strike="noStrike" kern="1200" cap="none" spc="0" normalizeH="0" baseline="0" noProof="0">
              <a:ln>
                <a:noFill/>
              </a:ln>
              <a:solidFill>
                <a:srgbClr val="293947"/>
              </a:solidFill>
              <a:effectLst/>
              <a:uLnTx/>
              <a:uFillTx/>
              <a:latin typeface="Arial" panose="020B0604020202020204"/>
              <a:ea typeface="+mn-ea"/>
              <a:cs typeface="+mn-cs"/>
            </a:endParaRPr>
          </a:p>
        </p:txBody>
      </p:sp>
      <p:sp>
        <p:nvSpPr>
          <p:cNvPr id="191" name="Rectangle 190">
            <a:extLst>
              <a:ext uri="{FF2B5EF4-FFF2-40B4-BE49-F238E27FC236}">
                <a16:creationId xmlns:a16="http://schemas.microsoft.com/office/drawing/2014/main" id="{7C23E78C-E51B-4DEE-9E81-4E507C926E33}"/>
              </a:ext>
            </a:extLst>
          </p:cNvPr>
          <p:cNvSpPr/>
          <p:nvPr/>
        </p:nvSpPr>
        <p:spPr>
          <a:xfrm>
            <a:off x="4084815" y="1707309"/>
            <a:ext cx="1729036" cy="847402"/>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Cash management</a:t>
            </a:r>
          </a:p>
        </p:txBody>
      </p:sp>
      <p:grpSp>
        <p:nvGrpSpPr>
          <p:cNvPr id="4" name="Group 3">
            <a:extLst>
              <a:ext uri="{FF2B5EF4-FFF2-40B4-BE49-F238E27FC236}">
                <a16:creationId xmlns:a16="http://schemas.microsoft.com/office/drawing/2014/main" id="{1B67C4AB-8248-4724-9881-B33A75E98FEA}"/>
              </a:ext>
            </a:extLst>
          </p:cNvPr>
          <p:cNvGrpSpPr/>
          <p:nvPr/>
        </p:nvGrpSpPr>
        <p:grpSpPr>
          <a:xfrm>
            <a:off x="477198" y="3181551"/>
            <a:ext cx="1775353" cy="844062"/>
            <a:chOff x="516964" y="4451174"/>
            <a:chExt cx="1923299" cy="914400"/>
          </a:xfrm>
          <a:noFill/>
        </p:grpSpPr>
        <p:sp>
          <p:nvSpPr>
            <p:cNvPr id="166" name="Rectangle 165">
              <a:extLst>
                <a:ext uri="{FF2B5EF4-FFF2-40B4-BE49-F238E27FC236}">
                  <a16:creationId xmlns:a16="http://schemas.microsoft.com/office/drawing/2014/main" id="{D0318CA1-E90C-4039-A50A-6505B9C20A65}"/>
                </a:ext>
              </a:extLst>
            </p:cNvPr>
            <p:cNvSpPr/>
            <p:nvPr/>
          </p:nvSpPr>
          <p:spPr>
            <a:xfrm>
              <a:off x="516964" y="4451174"/>
              <a:ext cx="1923299" cy="914400"/>
            </a:xfrm>
            <a:prstGeom prst="rect">
              <a:avLst/>
            </a:prstGeom>
            <a:grp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PAS / Estates</a:t>
              </a:r>
            </a:p>
          </p:txBody>
        </p:sp>
        <p:sp>
          <p:nvSpPr>
            <p:cNvPr id="177" name="Rectangle 176">
              <a:extLst>
                <a:ext uri="{FF2B5EF4-FFF2-40B4-BE49-F238E27FC236}">
                  <a16:creationId xmlns:a16="http://schemas.microsoft.com/office/drawing/2014/main" id="{F546E241-988B-400A-9102-972FA92B8009}"/>
                </a:ext>
              </a:extLst>
            </p:cNvPr>
            <p:cNvSpPr/>
            <p:nvPr/>
          </p:nvSpPr>
          <p:spPr>
            <a:xfrm>
              <a:off x="600265" y="4695066"/>
              <a:ext cx="810000" cy="270000"/>
            </a:xfrm>
            <a:prstGeom prst="rect">
              <a:avLst/>
            </a:prstGeom>
            <a:grp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mmercial property income</a:t>
              </a:r>
            </a:p>
          </p:txBody>
        </p:sp>
        <p:sp>
          <p:nvSpPr>
            <p:cNvPr id="179" name="Rectangle 178">
              <a:extLst>
                <a:ext uri="{FF2B5EF4-FFF2-40B4-BE49-F238E27FC236}">
                  <a16:creationId xmlns:a16="http://schemas.microsoft.com/office/drawing/2014/main" id="{4678961E-9E26-4196-A0DD-3F5E60AEF649}"/>
                </a:ext>
              </a:extLst>
            </p:cNvPr>
            <p:cNvSpPr/>
            <p:nvPr/>
          </p:nvSpPr>
          <p:spPr>
            <a:xfrm>
              <a:off x="1540055" y="4695066"/>
              <a:ext cx="810000" cy="270000"/>
            </a:xfrm>
            <a:prstGeom prst="rect">
              <a:avLst/>
            </a:prstGeom>
            <a:grp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apital projects</a:t>
              </a:r>
            </a:p>
          </p:txBody>
        </p:sp>
        <p:sp>
          <p:nvSpPr>
            <p:cNvPr id="183" name="Rectangle 182">
              <a:extLst>
                <a:ext uri="{FF2B5EF4-FFF2-40B4-BE49-F238E27FC236}">
                  <a16:creationId xmlns:a16="http://schemas.microsoft.com/office/drawing/2014/main" id="{DFDCD88D-F8E2-4B63-9ABF-8095CDE94E5A}"/>
                </a:ext>
              </a:extLst>
            </p:cNvPr>
            <p:cNvSpPr/>
            <p:nvPr/>
          </p:nvSpPr>
          <p:spPr>
            <a:xfrm>
              <a:off x="600265" y="5032328"/>
              <a:ext cx="810000" cy="270000"/>
            </a:xfrm>
            <a:prstGeom prst="rect">
              <a:avLst/>
            </a:prstGeom>
            <a:grp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sidential income</a:t>
              </a:r>
            </a:p>
          </p:txBody>
        </p:sp>
        <p:sp>
          <p:nvSpPr>
            <p:cNvPr id="184" name="Rectangle 183">
              <a:extLst>
                <a:ext uri="{FF2B5EF4-FFF2-40B4-BE49-F238E27FC236}">
                  <a16:creationId xmlns:a16="http://schemas.microsoft.com/office/drawing/2014/main" id="{D4314524-9A65-46C4-B67D-7763E295AB5E}"/>
                </a:ext>
              </a:extLst>
            </p:cNvPr>
            <p:cNvSpPr/>
            <p:nvPr/>
          </p:nvSpPr>
          <p:spPr>
            <a:xfrm>
              <a:off x="1540055" y="5032328"/>
              <a:ext cx="810000" cy="270000"/>
            </a:xfrm>
            <a:prstGeom prst="rect">
              <a:avLst/>
            </a:prstGeom>
            <a:grp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Tenancy deposit accounting</a:t>
              </a:r>
            </a:p>
          </p:txBody>
        </p:sp>
      </p:grpSp>
      <p:sp>
        <p:nvSpPr>
          <p:cNvPr id="162" name="Rectangle 161">
            <a:extLst>
              <a:ext uri="{FF2B5EF4-FFF2-40B4-BE49-F238E27FC236}">
                <a16:creationId xmlns:a16="http://schemas.microsoft.com/office/drawing/2014/main" id="{A014BB00-1C82-4FA2-965E-29278C84023A}"/>
              </a:ext>
            </a:extLst>
          </p:cNvPr>
          <p:cNvSpPr/>
          <p:nvPr/>
        </p:nvSpPr>
        <p:spPr>
          <a:xfrm>
            <a:off x="4082893" y="4371721"/>
            <a:ext cx="1728000" cy="1456551"/>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dirty="0">
                <a:ln>
                  <a:noFill/>
                </a:ln>
                <a:solidFill>
                  <a:srgbClr val="293947"/>
                </a:solidFill>
                <a:effectLst/>
                <a:uLnTx/>
                <a:uFillTx/>
                <a:latin typeface="Arial" panose="020B0604020202020204"/>
                <a:ea typeface="+mn-ea"/>
                <a:cs typeface="+mn-cs"/>
              </a:rPr>
              <a:t>Reporting</a:t>
            </a:r>
          </a:p>
        </p:txBody>
      </p:sp>
      <p:sp>
        <p:nvSpPr>
          <p:cNvPr id="163" name="Rectangle 162">
            <a:extLst>
              <a:ext uri="{FF2B5EF4-FFF2-40B4-BE49-F238E27FC236}">
                <a16:creationId xmlns:a16="http://schemas.microsoft.com/office/drawing/2014/main" id="{82626CDB-A0AB-487E-90FD-57E1C304D8BF}"/>
              </a:ext>
            </a:extLst>
          </p:cNvPr>
          <p:cNvSpPr/>
          <p:nvPr/>
        </p:nvSpPr>
        <p:spPr>
          <a:xfrm>
            <a:off x="4164112" y="4579814"/>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Reporting to funding bodies</a:t>
            </a:r>
          </a:p>
        </p:txBody>
      </p:sp>
      <p:sp>
        <p:nvSpPr>
          <p:cNvPr id="164" name="Rectangle 163">
            <a:extLst>
              <a:ext uri="{FF2B5EF4-FFF2-40B4-BE49-F238E27FC236}">
                <a16:creationId xmlns:a16="http://schemas.microsoft.com/office/drawing/2014/main" id="{204E8C03-1AE6-4461-84F3-CFD245C2C995}"/>
              </a:ext>
            </a:extLst>
          </p:cNvPr>
          <p:cNvSpPr/>
          <p:nvPr/>
        </p:nvSpPr>
        <p:spPr>
          <a:xfrm>
            <a:off x="4990635" y="4579814"/>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onth-end reporting</a:t>
            </a:r>
          </a:p>
        </p:txBody>
      </p:sp>
      <p:sp>
        <p:nvSpPr>
          <p:cNvPr id="167" name="Rectangle 166">
            <a:extLst>
              <a:ext uri="{FF2B5EF4-FFF2-40B4-BE49-F238E27FC236}">
                <a16:creationId xmlns:a16="http://schemas.microsoft.com/office/drawing/2014/main" id="{A94BCAD5-BA73-4640-BD8F-306CDF349818}"/>
              </a:ext>
            </a:extLst>
          </p:cNvPr>
          <p:cNvSpPr/>
          <p:nvPr/>
        </p:nvSpPr>
        <p:spPr>
          <a:xfrm>
            <a:off x="4990635" y="4889001"/>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nnual financial statements</a:t>
            </a:r>
          </a:p>
        </p:txBody>
      </p:sp>
      <p:sp>
        <p:nvSpPr>
          <p:cNvPr id="194" name="Rectangle 193">
            <a:extLst>
              <a:ext uri="{FF2B5EF4-FFF2-40B4-BE49-F238E27FC236}">
                <a16:creationId xmlns:a16="http://schemas.microsoft.com/office/drawing/2014/main" id="{91ECA2B3-29B7-4DA5-9B21-E9E99F09DA8D}"/>
              </a:ext>
            </a:extLst>
          </p:cNvPr>
          <p:cNvSpPr/>
          <p:nvPr/>
        </p:nvSpPr>
        <p:spPr>
          <a:xfrm>
            <a:off x="4988231" y="1932439"/>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Bank reconciliation</a:t>
            </a:r>
          </a:p>
        </p:txBody>
      </p:sp>
      <p:sp>
        <p:nvSpPr>
          <p:cNvPr id="198" name="Rectangle 197">
            <a:extLst>
              <a:ext uri="{FF2B5EF4-FFF2-40B4-BE49-F238E27FC236}">
                <a16:creationId xmlns:a16="http://schemas.microsoft.com/office/drawing/2014/main" id="{22767C2E-B340-4301-B705-2F60F5E74579}"/>
              </a:ext>
            </a:extLst>
          </p:cNvPr>
          <p:cNvSpPr/>
          <p:nvPr/>
        </p:nvSpPr>
        <p:spPr>
          <a:xfrm>
            <a:off x="4159381" y="1932439"/>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Direct debit collections</a:t>
            </a:r>
          </a:p>
        </p:txBody>
      </p:sp>
      <p:sp>
        <p:nvSpPr>
          <p:cNvPr id="173" name="Rectangle 172">
            <a:extLst>
              <a:ext uri="{FF2B5EF4-FFF2-40B4-BE49-F238E27FC236}">
                <a16:creationId xmlns:a16="http://schemas.microsoft.com/office/drawing/2014/main" id="{4D718DAF-98F9-4D57-B7B7-89B7AB141167}"/>
              </a:ext>
            </a:extLst>
          </p:cNvPr>
          <p:cNvSpPr/>
          <p:nvPr/>
        </p:nvSpPr>
        <p:spPr>
          <a:xfrm>
            <a:off x="4988231" y="2244370"/>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Petty cash</a:t>
            </a:r>
          </a:p>
        </p:txBody>
      </p:sp>
      <p:sp>
        <p:nvSpPr>
          <p:cNvPr id="3" name="Text Placeholder 2">
            <a:extLst>
              <a:ext uri="{FF2B5EF4-FFF2-40B4-BE49-F238E27FC236}">
                <a16:creationId xmlns:a16="http://schemas.microsoft.com/office/drawing/2014/main" id="{7F67B444-81DA-4D7C-A8D9-068A33170273}"/>
              </a:ext>
            </a:extLst>
          </p:cNvPr>
          <p:cNvSpPr>
            <a:spLocks noGrp="1"/>
          </p:cNvSpPr>
          <p:nvPr>
            <p:ph type="body" sz="quarter" idx="13"/>
          </p:nvPr>
        </p:nvSpPr>
        <p:spPr>
          <a:xfrm>
            <a:off x="513965" y="460486"/>
            <a:ext cx="8038523" cy="664615"/>
          </a:xfrm>
        </p:spPr>
        <p:txBody>
          <a:bodyPr/>
          <a:lstStyle/>
          <a:p>
            <a:pPr marL="0" indent="0">
              <a:buNone/>
            </a:pPr>
            <a:r>
              <a:rPr lang="en-GB" dirty="0">
                <a:solidFill>
                  <a:schemeClr val="bg1"/>
                </a:solidFill>
              </a:rPr>
              <a:t>As-Is Operating Model: High Level Capability Assessment</a:t>
            </a:r>
          </a:p>
          <a:p>
            <a:pPr marL="0" indent="0">
              <a:buNone/>
            </a:pPr>
            <a:endParaRPr lang="en-GB" sz="1292" b="0" dirty="0" smtClean="0">
              <a:solidFill>
                <a:schemeClr val="accent1"/>
              </a:solidFill>
            </a:endParaRPr>
          </a:p>
          <a:p>
            <a:pPr marL="0" indent="0">
              <a:buNone/>
            </a:pPr>
            <a:endParaRPr lang="en-GB" sz="1292" b="0" dirty="0">
              <a:solidFill>
                <a:schemeClr val="accent1"/>
              </a:solidFill>
            </a:endParaRPr>
          </a:p>
          <a:p>
            <a:pPr marL="0" indent="0">
              <a:buNone/>
            </a:pPr>
            <a:r>
              <a:rPr lang="en-GB" sz="1292" b="0" dirty="0" smtClean="0">
                <a:solidFill>
                  <a:srgbClr val="000810"/>
                </a:solidFill>
              </a:rPr>
              <a:t>The </a:t>
            </a:r>
            <a:r>
              <a:rPr lang="en-GB" sz="1292" b="0" dirty="0">
                <a:solidFill>
                  <a:srgbClr val="000810"/>
                </a:solidFill>
              </a:rPr>
              <a:t>finance capabilities below were assessed by looking at system, process and people perspectives. Overall, they can be largely improved</a:t>
            </a:r>
            <a:endParaRPr lang="en-GB" sz="1292" dirty="0">
              <a:solidFill>
                <a:srgbClr val="000810"/>
              </a:solidFill>
            </a:endParaRPr>
          </a:p>
        </p:txBody>
      </p:sp>
      <p:sp>
        <p:nvSpPr>
          <p:cNvPr id="108" name="Rectangle 107">
            <a:extLst>
              <a:ext uri="{FF2B5EF4-FFF2-40B4-BE49-F238E27FC236}">
                <a16:creationId xmlns:a16="http://schemas.microsoft.com/office/drawing/2014/main" id="{E23FF43D-B7EF-4FE5-8856-8CE0798D5646}"/>
              </a:ext>
            </a:extLst>
          </p:cNvPr>
          <p:cNvSpPr/>
          <p:nvPr/>
        </p:nvSpPr>
        <p:spPr>
          <a:xfrm>
            <a:off x="477199" y="1707308"/>
            <a:ext cx="1777698" cy="1431641"/>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Accounts payable</a:t>
            </a:r>
          </a:p>
        </p:txBody>
      </p:sp>
      <p:sp>
        <p:nvSpPr>
          <p:cNvPr id="109" name="Rectangle 108">
            <a:extLst>
              <a:ext uri="{FF2B5EF4-FFF2-40B4-BE49-F238E27FC236}">
                <a16:creationId xmlns:a16="http://schemas.microsoft.com/office/drawing/2014/main" id="{395FFA54-1A4A-45A4-AE9D-218A7C41FF50}"/>
              </a:ext>
            </a:extLst>
          </p:cNvPr>
          <p:cNvSpPr/>
          <p:nvPr/>
        </p:nvSpPr>
        <p:spPr>
          <a:xfrm>
            <a:off x="553746" y="2538419"/>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voice payments</a:t>
            </a:r>
          </a:p>
        </p:txBody>
      </p:sp>
      <p:sp>
        <p:nvSpPr>
          <p:cNvPr id="111" name="Rectangle 110">
            <a:extLst>
              <a:ext uri="{FF2B5EF4-FFF2-40B4-BE49-F238E27FC236}">
                <a16:creationId xmlns:a16="http://schemas.microsoft.com/office/drawing/2014/main" id="{6412AE62-6CAF-417C-805A-C4AC6E95809A}"/>
              </a:ext>
            </a:extLst>
          </p:cNvPr>
          <p:cNvSpPr/>
          <p:nvPr/>
        </p:nvSpPr>
        <p:spPr>
          <a:xfrm>
            <a:off x="553746" y="1932439"/>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redit cards</a:t>
            </a:r>
          </a:p>
        </p:txBody>
      </p:sp>
      <p:sp>
        <p:nvSpPr>
          <p:cNvPr id="112" name="Rectangle 111">
            <a:extLst>
              <a:ext uri="{FF2B5EF4-FFF2-40B4-BE49-F238E27FC236}">
                <a16:creationId xmlns:a16="http://schemas.microsoft.com/office/drawing/2014/main" id="{865ECC74-1C06-4C9F-A8CF-2E634E541D67}"/>
              </a:ext>
            </a:extLst>
          </p:cNvPr>
          <p:cNvSpPr/>
          <p:nvPr/>
        </p:nvSpPr>
        <p:spPr>
          <a:xfrm>
            <a:off x="553746" y="2235429"/>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ternational payments</a:t>
            </a:r>
          </a:p>
        </p:txBody>
      </p:sp>
      <p:sp>
        <p:nvSpPr>
          <p:cNvPr id="113" name="Rectangle 112">
            <a:extLst>
              <a:ext uri="{FF2B5EF4-FFF2-40B4-BE49-F238E27FC236}">
                <a16:creationId xmlns:a16="http://schemas.microsoft.com/office/drawing/2014/main" id="{6E7CC1A9-221F-4C1C-A948-6B4E91649905}"/>
              </a:ext>
            </a:extLst>
          </p:cNvPr>
          <p:cNvSpPr/>
          <p:nvPr/>
        </p:nvSpPr>
        <p:spPr>
          <a:xfrm>
            <a:off x="1421244" y="1932439"/>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Expenses management</a:t>
            </a:r>
          </a:p>
        </p:txBody>
      </p:sp>
      <p:sp>
        <p:nvSpPr>
          <p:cNvPr id="114" name="Rectangle 113">
            <a:extLst>
              <a:ext uri="{FF2B5EF4-FFF2-40B4-BE49-F238E27FC236}">
                <a16:creationId xmlns:a16="http://schemas.microsoft.com/office/drawing/2014/main" id="{ED2EC530-6ED6-4DF7-8FA9-B5006970D5BF}"/>
              </a:ext>
            </a:extLst>
          </p:cNvPr>
          <p:cNvSpPr/>
          <p:nvPr/>
        </p:nvSpPr>
        <p:spPr>
          <a:xfrm>
            <a:off x="1421244" y="2235429"/>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Process invoices</a:t>
            </a:r>
          </a:p>
        </p:txBody>
      </p:sp>
      <p:sp>
        <p:nvSpPr>
          <p:cNvPr id="115" name="Rectangle 114">
            <a:extLst>
              <a:ext uri="{FF2B5EF4-FFF2-40B4-BE49-F238E27FC236}">
                <a16:creationId xmlns:a16="http://schemas.microsoft.com/office/drawing/2014/main" id="{C549E3BF-DD84-41D3-8834-9BEF27322078}"/>
              </a:ext>
            </a:extLst>
          </p:cNvPr>
          <p:cNvSpPr/>
          <p:nvPr/>
        </p:nvSpPr>
        <p:spPr>
          <a:xfrm>
            <a:off x="553746" y="2843330"/>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Supplier setup / maintenance</a:t>
            </a:r>
          </a:p>
        </p:txBody>
      </p:sp>
      <p:sp>
        <p:nvSpPr>
          <p:cNvPr id="252" name="Rectangle 251">
            <a:extLst>
              <a:ext uri="{FF2B5EF4-FFF2-40B4-BE49-F238E27FC236}">
                <a16:creationId xmlns:a16="http://schemas.microsoft.com/office/drawing/2014/main" id="{3FC6DEE0-B220-43F6-8B6B-D84D88A8BF1A}"/>
              </a:ext>
            </a:extLst>
          </p:cNvPr>
          <p:cNvSpPr/>
          <p:nvPr/>
        </p:nvSpPr>
        <p:spPr>
          <a:xfrm>
            <a:off x="1421211" y="2538419"/>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funds</a:t>
            </a:r>
          </a:p>
        </p:txBody>
      </p:sp>
      <p:sp>
        <p:nvSpPr>
          <p:cNvPr id="118" name="Rectangle 117">
            <a:extLst>
              <a:ext uri="{FF2B5EF4-FFF2-40B4-BE49-F238E27FC236}">
                <a16:creationId xmlns:a16="http://schemas.microsoft.com/office/drawing/2014/main" id="{706982A9-D01B-4586-9FD2-DF3340FFFB3E}"/>
              </a:ext>
            </a:extLst>
          </p:cNvPr>
          <p:cNvSpPr/>
          <p:nvPr/>
        </p:nvSpPr>
        <p:spPr>
          <a:xfrm>
            <a:off x="2315825" y="1707309"/>
            <a:ext cx="1728000" cy="1131047"/>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Accounts receivable</a:t>
            </a:r>
          </a:p>
        </p:txBody>
      </p:sp>
      <p:sp>
        <p:nvSpPr>
          <p:cNvPr id="119" name="Rectangle 118">
            <a:extLst>
              <a:ext uri="{FF2B5EF4-FFF2-40B4-BE49-F238E27FC236}">
                <a16:creationId xmlns:a16="http://schemas.microsoft.com/office/drawing/2014/main" id="{FD1E055B-250F-4823-ADCB-0CE5C79C86CA}"/>
              </a:ext>
            </a:extLst>
          </p:cNvPr>
          <p:cNvSpPr/>
          <p:nvPr/>
        </p:nvSpPr>
        <p:spPr>
          <a:xfrm>
            <a:off x="2392717" y="2538419"/>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ceipting</a:t>
            </a:r>
          </a:p>
        </p:txBody>
      </p:sp>
      <p:sp>
        <p:nvSpPr>
          <p:cNvPr id="120" name="Rectangle 119">
            <a:extLst>
              <a:ext uri="{FF2B5EF4-FFF2-40B4-BE49-F238E27FC236}">
                <a16:creationId xmlns:a16="http://schemas.microsoft.com/office/drawing/2014/main" id="{F86F84C6-62CA-4D49-BEC7-7A0C32611AC5}"/>
              </a:ext>
            </a:extLst>
          </p:cNvPr>
          <p:cNvSpPr/>
          <p:nvPr/>
        </p:nvSpPr>
        <p:spPr>
          <a:xfrm>
            <a:off x="3219240" y="2235429"/>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Bad debt and write-offs</a:t>
            </a:r>
          </a:p>
        </p:txBody>
      </p:sp>
      <p:sp>
        <p:nvSpPr>
          <p:cNvPr id="121" name="Rectangle 120">
            <a:extLst>
              <a:ext uri="{FF2B5EF4-FFF2-40B4-BE49-F238E27FC236}">
                <a16:creationId xmlns:a16="http://schemas.microsoft.com/office/drawing/2014/main" id="{B5AA63F4-AB61-4FE2-A82E-726975147455}"/>
              </a:ext>
            </a:extLst>
          </p:cNvPr>
          <p:cNvSpPr/>
          <p:nvPr/>
        </p:nvSpPr>
        <p:spPr>
          <a:xfrm>
            <a:off x="2392717" y="1932439"/>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redit control</a:t>
            </a:r>
          </a:p>
        </p:txBody>
      </p:sp>
      <p:sp>
        <p:nvSpPr>
          <p:cNvPr id="122" name="Rectangle 121">
            <a:extLst>
              <a:ext uri="{FF2B5EF4-FFF2-40B4-BE49-F238E27FC236}">
                <a16:creationId xmlns:a16="http://schemas.microsoft.com/office/drawing/2014/main" id="{DA509471-D2C0-44F7-8B79-0DFEA8F772C1}"/>
              </a:ext>
            </a:extLst>
          </p:cNvPr>
          <p:cNvSpPr/>
          <p:nvPr/>
        </p:nvSpPr>
        <p:spPr>
          <a:xfrm>
            <a:off x="2392717" y="2235429"/>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voicing</a:t>
            </a:r>
            <a:b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b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ternal &amp; external)</a:t>
            </a:r>
          </a:p>
        </p:txBody>
      </p:sp>
      <p:sp>
        <p:nvSpPr>
          <p:cNvPr id="123" name="Rectangle 122">
            <a:extLst>
              <a:ext uri="{FF2B5EF4-FFF2-40B4-BE49-F238E27FC236}">
                <a16:creationId xmlns:a16="http://schemas.microsoft.com/office/drawing/2014/main" id="{7A7C97CC-FC21-43EA-AB06-AD3DE6967916}"/>
              </a:ext>
            </a:extLst>
          </p:cNvPr>
          <p:cNvSpPr/>
          <p:nvPr/>
        </p:nvSpPr>
        <p:spPr>
          <a:xfrm>
            <a:off x="3219240" y="1932439"/>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ustomer setup / maintenance</a:t>
            </a:r>
          </a:p>
        </p:txBody>
      </p:sp>
      <p:sp>
        <p:nvSpPr>
          <p:cNvPr id="254" name="Rectangle 253">
            <a:extLst>
              <a:ext uri="{FF2B5EF4-FFF2-40B4-BE49-F238E27FC236}">
                <a16:creationId xmlns:a16="http://schemas.microsoft.com/office/drawing/2014/main" id="{1BABCABB-CD82-4D36-8404-BA6206CC1FA5}"/>
              </a:ext>
            </a:extLst>
          </p:cNvPr>
          <p:cNvSpPr/>
          <p:nvPr/>
        </p:nvSpPr>
        <p:spPr>
          <a:xfrm>
            <a:off x="3219240" y="2538419"/>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Sales -  online, </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EPOS, other systems</a:t>
            </a:r>
          </a:p>
        </p:txBody>
      </p:sp>
      <p:sp>
        <p:nvSpPr>
          <p:cNvPr id="231" name="Rectangle 230">
            <a:extLst>
              <a:ext uri="{FF2B5EF4-FFF2-40B4-BE49-F238E27FC236}">
                <a16:creationId xmlns:a16="http://schemas.microsoft.com/office/drawing/2014/main" id="{5E129846-CC34-4264-A734-916210DF024E}"/>
              </a:ext>
            </a:extLst>
          </p:cNvPr>
          <p:cNvSpPr/>
          <p:nvPr/>
        </p:nvSpPr>
        <p:spPr>
          <a:xfrm>
            <a:off x="7919308" y="1533055"/>
            <a:ext cx="166154" cy="99692"/>
          </a:xfrm>
          <a:prstGeom prst="rect">
            <a:avLst/>
          </a:prstGeom>
          <a:noFill/>
          <a:ln w="6350" cap="flat" cmpd="sng" algn="ctr">
            <a:solidFill>
              <a:schemeClr val="accent3"/>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endParaRPr kumimoji="0" lang="en-GB" sz="646" b="0" i="0" u="none" strike="noStrike" kern="0" cap="none" spc="0" normalizeH="0" baseline="0" noProof="0">
              <a:ln>
                <a:noFill/>
              </a:ln>
              <a:solidFill>
                <a:srgbClr val="003300"/>
              </a:solidFill>
              <a:effectLst/>
              <a:uLnTx/>
              <a:uFillTx/>
              <a:latin typeface="Arial" panose="020B0604020202020204"/>
              <a:ea typeface="+mn-ea"/>
              <a:cs typeface="+mn-cs"/>
            </a:endParaRPr>
          </a:p>
        </p:txBody>
      </p:sp>
      <p:sp>
        <p:nvSpPr>
          <p:cNvPr id="232" name="TextBox 231">
            <a:extLst>
              <a:ext uri="{FF2B5EF4-FFF2-40B4-BE49-F238E27FC236}">
                <a16:creationId xmlns:a16="http://schemas.microsoft.com/office/drawing/2014/main" id="{74C2D8FE-0113-4F0F-AD01-574F433F17F7}"/>
              </a:ext>
            </a:extLst>
          </p:cNvPr>
          <p:cNvSpPr txBox="1"/>
          <p:nvPr/>
        </p:nvSpPr>
        <p:spPr>
          <a:xfrm>
            <a:off x="8098876" y="1499628"/>
            <a:ext cx="432581" cy="166548"/>
          </a:xfrm>
          <a:prstGeom prst="rect">
            <a:avLst/>
          </a:prstGeom>
          <a:solidFill>
            <a:srgbClr val="F5F8FA"/>
          </a:solidFill>
        </p:spPr>
        <p:txBody>
          <a:bodyPr wrap="square" lIns="66462" tIns="0" rIns="0" bIns="0" rtlCol="0">
            <a:noAutofit/>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0" lang="en-GB" sz="923" b="0" i="0" u="none" strike="noStrike" kern="1200" cap="none" spc="0" normalizeH="0" baseline="0" noProof="0" dirty="0">
                <a:ln>
                  <a:noFill/>
                </a:ln>
                <a:solidFill>
                  <a:srgbClr val="293947"/>
                </a:solidFill>
                <a:effectLst/>
                <a:uLnTx/>
                <a:uFillTx/>
                <a:latin typeface="Arial" panose="020B0604020202020204"/>
                <a:ea typeface="+mn-ea"/>
                <a:cs typeface="+mn-cs"/>
              </a:rPr>
              <a:t>Absent</a:t>
            </a:r>
          </a:p>
        </p:txBody>
      </p:sp>
      <p:sp>
        <p:nvSpPr>
          <p:cNvPr id="263" name="TextBox 262">
            <a:extLst>
              <a:ext uri="{FF2B5EF4-FFF2-40B4-BE49-F238E27FC236}">
                <a16:creationId xmlns:a16="http://schemas.microsoft.com/office/drawing/2014/main" id="{7D178EAF-C368-4D5B-AA9C-2393A43191D8}"/>
              </a:ext>
            </a:extLst>
          </p:cNvPr>
          <p:cNvSpPr txBox="1"/>
          <p:nvPr/>
        </p:nvSpPr>
        <p:spPr>
          <a:xfrm>
            <a:off x="6010301" y="1358214"/>
            <a:ext cx="2579634" cy="153019"/>
          </a:xfrm>
          <a:prstGeom prst="rect">
            <a:avLst/>
          </a:prstGeom>
          <a:solidFill>
            <a:srgbClr val="F5F8FA"/>
          </a:solidFill>
        </p:spPr>
        <p:txBody>
          <a:bodyPr wrap="square" lIns="66462" tIns="0" rIns="0" bIns="0" rtlCol="0" anchor="ctr">
            <a:no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738" b="1" i="0" u="sng" strike="noStrike" kern="1200" cap="all" spc="0" normalizeH="0" baseline="0" noProof="0">
                <a:ln>
                  <a:noFill/>
                </a:ln>
                <a:solidFill>
                  <a:srgbClr val="293947"/>
                </a:solidFill>
                <a:effectLst/>
                <a:uLnTx/>
                <a:uFillTx/>
                <a:latin typeface="Arial" panose="020B0604020202020204"/>
                <a:ea typeface="+mn-ea"/>
                <a:cs typeface="+mn-cs"/>
              </a:rPr>
              <a:t>ADHERENCE TO GOOD PRACTICE:</a:t>
            </a:r>
          </a:p>
        </p:txBody>
      </p:sp>
      <p:sp>
        <p:nvSpPr>
          <p:cNvPr id="168" name="Rectangle 167">
            <a:extLst>
              <a:ext uri="{FF2B5EF4-FFF2-40B4-BE49-F238E27FC236}">
                <a16:creationId xmlns:a16="http://schemas.microsoft.com/office/drawing/2014/main" id="{721BC764-AF5B-4AD8-9096-C6CE6E96C8C4}"/>
              </a:ext>
            </a:extLst>
          </p:cNvPr>
          <p:cNvSpPr/>
          <p:nvPr/>
        </p:nvSpPr>
        <p:spPr>
          <a:xfrm>
            <a:off x="4164112" y="5200320"/>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Bespoke / ad-hoc internal reporting</a:t>
            </a:r>
          </a:p>
        </p:txBody>
      </p:sp>
      <p:sp>
        <p:nvSpPr>
          <p:cNvPr id="169" name="Rectangle 168">
            <a:extLst>
              <a:ext uri="{FF2B5EF4-FFF2-40B4-BE49-F238E27FC236}">
                <a16:creationId xmlns:a16="http://schemas.microsoft.com/office/drawing/2014/main" id="{45EFF7BB-C1B2-4E1F-8CDE-533BCF6E466A}"/>
              </a:ext>
            </a:extLst>
          </p:cNvPr>
          <p:cNvSpPr/>
          <p:nvPr/>
        </p:nvSpPr>
        <p:spPr>
          <a:xfrm>
            <a:off x="4996605" y="5200320"/>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apital reporting</a:t>
            </a:r>
          </a:p>
        </p:txBody>
      </p:sp>
      <p:sp>
        <p:nvSpPr>
          <p:cNvPr id="243" name="Rectangle 242">
            <a:extLst>
              <a:ext uri="{FF2B5EF4-FFF2-40B4-BE49-F238E27FC236}">
                <a16:creationId xmlns:a16="http://schemas.microsoft.com/office/drawing/2014/main" id="{C7C125FC-F21B-4BAA-B8F6-836EA70F4BB9}"/>
              </a:ext>
            </a:extLst>
          </p:cNvPr>
          <p:cNvSpPr/>
          <p:nvPr/>
        </p:nvSpPr>
        <p:spPr>
          <a:xfrm>
            <a:off x="2395532" y="551567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ssuing/</a:t>
            </a:r>
            <a:b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b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turning</a:t>
            </a:r>
          </a:p>
        </p:txBody>
      </p:sp>
      <p:sp>
        <p:nvSpPr>
          <p:cNvPr id="245" name="Rectangle 244">
            <a:extLst>
              <a:ext uri="{FF2B5EF4-FFF2-40B4-BE49-F238E27FC236}">
                <a16:creationId xmlns:a16="http://schemas.microsoft.com/office/drawing/2014/main" id="{DC90A86E-C062-499B-AA35-E31BDB99689C}"/>
              </a:ext>
            </a:extLst>
          </p:cNvPr>
          <p:cNvSpPr/>
          <p:nvPr/>
        </p:nvSpPr>
        <p:spPr>
          <a:xfrm>
            <a:off x="2400678" y="5204351"/>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dentification and stock take</a:t>
            </a:r>
          </a:p>
        </p:txBody>
      </p:sp>
      <p:sp>
        <p:nvSpPr>
          <p:cNvPr id="266" name="Rectangle 265">
            <a:extLst>
              <a:ext uri="{FF2B5EF4-FFF2-40B4-BE49-F238E27FC236}">
                <a16:creationId xmlns:a16="http://schemas.microsoft.com/office/drawing/2014/main" id="{339765EC-2F56-46F1-B181-FDE9A8577286}"/>
              </a:ext>
            </a:extLst>
          </p:cNvPr>
          <p:cNvSpPr/>
          <p:nvPr/>
        </p:nvSpPr>
        <p:spPr>
          <a:xfrm>
            <a:off x="3227201" y="5204351"/>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nage</a:t>
            </a:r>
          </a:p>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ventory</a:t>
            </a:r>
          </a:p>
        </p:txBody>
      </p:sp>
      <p:sp>
        <p:nvSpPr>
          <p:cNvPr id="271" name="Rectangle 270">
            <a:extLst>
              <a:ext uri="{FF2B5EF4-FFF2-40B4-BE49-F238E27FC236}">
                <a16:creationId xmlns:a16="http://schemas.microsoft.com/office/drawing/2014/main" id="{A0C35AAC-471A-47FA-B895-7644C884637E}"/>
              </a:ext>
            </a:extLst>
          </p:cNvPr>
          <p:cNvSpPr/>
          <p:nvPr/>
        </p:nvSpPr>
        <p:spPr>
          <a:xfrm>
            <a:off x="4164112" y="4889001"/>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Trust fund statements</a:t>
            </a:r>
          </a:p>
        </p:txBody>
      </p:sp>
      <p:sp>
        <p:nvSpPr>
          <p:cNvPr id="137" name="Rectangle 136">
            <a:extLst>
              <a:ext uri="{FF2B5EF4-FFF2-40B4-BE49-F238E27FC236}">
                <a16:creationId xmlns:a16="http://schemas.microsoft.com/office/drawing/2014/main" id="{EB4FA7E1-5036-4DA9-AFC0-45086439F653}"/>
              </a:ext>
            </a:extLst>
          </p:cNvPr>
          <p:cNvSpPr/>
          <p:nvPr/>
        </p:nvSpPr>
        <p:spPr>
          <a:xfrm>
            <a:off x="477199" y="4068216"/>
            <a:ext cx="846629" cy="1148391"/>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Donations</a:t>
            </a:r>
          </a:p>
        </p:txBody>
      </p:sp>
      <p:sp>
        <p:nvSpPr>
          <p:cNvPr id="156" name="Rectangle 155">
            <a:extLst>
              <a:ext uri="{FF2B5EF4-FFF2-40B4-BE49-F238E27FC236}">
                <a16:creationId xmlns:a16="http://schemas.microsoft.com/office/drawing/2014/main" id="{0684AF5C-93A3-4E4B-8D20-2F68357D47DD}"/>
              </a:ext>
            </a:extLst>
          </p:cNvPr>
          <p:cNvSpPr/>
          <p:nvPr/>
        </p:nvSpPr>
        <p:spPr>
          <a:xfrm>
            <a:off x="527993" y="4604666"/>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Processing donations</a:t>
            </a:r>
          </a:p>
        </p:txBody>
      </p:sp>
      <p:sp>
        <p:nvSpPr>
          <p:cNvPr id="159" name="Rectangle 158">
            <a:extLst>
              <a:ext uri="{FF2B5EF4-FFF2-40B4-BE49-F238E27FC236}">
                <a16:creationId xmlns:a16="http://schemas.microsoft.com/office/drawing/2014/main" id="{BF70F6E5-E4C0-4700-B2D0-9EF53E9DB252}"/>
              </a:ext>
            </a:extLst>
          </p:cNvPr>
          <p:cNvSpPr/>
          <p:nvPr/>
        </p:nvSpPr>
        <p:spPr>
          <a:xfrm>
            <a:off x="527993" y="4893689"/>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porting donations</a:t>
            </a:r>
          </a:p>
        </p:txBody>
      </p:sp>
      <p:sp>
        <p:nvSpPr>
          <p:cNvPr id="116" name="Rectangle 115">
            <a:extLst>
              <a:ext uri="{FF2B5EF4-FFF2-40B4-BE49-F238E27FC236}">
                <a16:creationId xmlns:a16="http://schemas.microsoft.com/office/drawing/2014/main" id="{99903A8C-2924-4B59-BC3D-DBCC2C60D3E9}"/>
              </a:ext>
            </a:extLst>
          </p:cNvPr>
          <p:cNvSpPr/>
          <p:nvPr/>
        </p:nvSpPr>
        <p:spPr>
          <a:xfrm>
            <a:off x="527993" y="4293347"/>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ceiving donations</a:t>
            </a:r>
          </a:p>
        </p:txBody>
      </p:sp>
      <p:sp>
        <p:nvSpPr>
          <p:cNvPr id="178" name="Rectangle 177">
            <a:extLst>
              <a:ext uri="{FF2B5EF4-FFF2-40B4-BE49-F238E27FC236}">
                <a16:creationId xmlns:a16="http://schemas.microsoft.com/office/drawing/2014/main" id="{B0CB14CA-76B4-4275-ABAC-B9574D192552}"/>
              </a:ext>
            </a:extLst>
          </p:cNvPr>
          <p:cNvSpPr/>
          <p:nvPr/>
        </p:nvSpPr>
        <p:spPr>
          <a:xfrm>
            <a:off x="7628842" y="1707308"/>
            <a:ext cx="963692" cy="2768574"/>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831" b="1" i="0" u="none" strike="noStrike" kern="0" cap="none" spc="0" normalizeH="0" baseline="0" noProof="0">
                <a:ln>
                  <a:noFill/>
                </a:ln>
                <a:solidFill>
                  <a:srgbClr val="293947"/>
                </a:solidFill>
                <a:effectLst/>
                <a:uLnTx/>
                <a:uFillTx/>
                <a:latin typeface="Arial" panose="020B0604020202020204"/>
                <a:ea typeface="+mn-ea"/>
                <a:cs typeface="+mn-cs"/>
              </a:rPr>
              <a:t>Payroll</a:t>
            </a:r>
            <a:br>
              <a:rPr kumimoji="0" lang="en-GB" sz="831" b="1" i="0" u="none" strike="noStrike" kern="0" cap="none" spc="0" normalizeH="0" baseline="0" noProof="0">
                <a:ln>
                  <a:noFill/>
                </a:ln>
                <a:solidFill>
                  <a:srgbClr val="293947"/>
                </a:solidFill>
                <a:effectLst/>
                <a:uLnTx/>
                <a:uFillTx/>
                <a:latin typeface="Arial" panose="020B0604020202020204"/>
                <a:ea typeface="+mn-ea"/>
                <a:cs typeface="+mn-cs"/>
              </a:rPr>
            </a:br>
            <a:r>
              <a:rPr kumimoji="0" lang="en-GB" sz="738" b="1" i="0" u="none" strike="noStrike" kern="0" cap="none" spc="0" normalizeH="0" baseline="0" noProof="0">
                <a:ln>
                  <a:noFill/>
                </a:ln>
                <a:solidFill>
                  <a:srgbClr val="293947"/>
                </a:solidFill>
                <a:effectLst/>
                <a:uLnTx/>
                <a:uFillTx/>
                <a:latin typeface="Arial" panose="020B0604020202020204"/>
                <a:ea typeface="+mn-ea"/>
                <a:cs typeface="+mn-cs"/>
              </a:rPr>
              <a:t>(Inc. off payroll)</a:t>
            </a:r>
            <a:endParaRPr kumimoji="0" lang="en-GB" sz="831" b="1" i="0" u="none" strike="noStrike" kern="0" cap="none" spc="0" normalizeH="0" baseline="0" noProof="0">
              <a:ln>
                <a:noFill/>
              </a:ln>
              <a:solidFill>
                <a:srgbClr val="293947"/>
              </a:solidFill>
              <a:effectLst/>
              <a:uLnTx/>
              <a:uFillTx/>
              <a:latin typeface="Arial" panose="020B0604020202020204"/>
              <a:ea typeface="+mn-ea"/>
              <a:cs typeface="+mn-cs"/>
            </a:endParaRPr>
          </a:p>
        </p:txBody>
      </p:sp>
      <p:sp>
        <p:nvSpPr>
          <p:cNvPr id="180" name="Rectangle 179">
            <a:extLst>
              <a:ext uri="{FF2B5EF4-FFF2-40B4-BE49-F238E27FC236}">
                <a16:creationId xmlns:a16="http://schemas.microsoft.com/office/drawing/2014/main" id="{EE3FCE56-AADC-4646-9F26-C2396D9FD71A}"/>
              </a:ext>
            </a:extLst>
          </p:cNvPr>
          <p:cNvSpPr/>
          <p:nvPr/>
        </p:nvSpPr>
        <p:spPr>
          <a:xfrm>
            <a:off x="7736842" y="2067229"/>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Pay employees</a:t>
            </a:r>
          </a:p>
        </p:txBody>
      </p:sp>
      <p:sp>
        <p:nvSpPr>
          <p:cNvPr id="181" name="Rectangle 180">
            <a:extLst>
              <a:ext uri="{FF2B5EF4-FFF2-40B4-BE49-F238E27FC236}">
                <a16:creationId xmlns:a16="http://schemas.microsoft.com/office/drawing/2014/main" id="{E54B6BE4-E243-4116-991D-8A3AA66949FA}"/>
              </a:ext>
            </a:extLst>
          </p:cNvPr>
          <p:cNvSpPr/>
          <p:nvPr/>
        </p:nvSpPr>
        <p:spPr>
          <a:xfrm>
            <a:off x="7736842" y="2415859"/>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Overtime</a:t>
            </a:r>
          </a:p>
        </p:txBody>
      </p:sp>
      <p:sp>
        <p:nvSpPr>
          <p:cNvPr id="219" name="Rectangle 218">
            <a:extLst>
              <a:ext uri="{FF2B5EF4-FFF2-40B4-BE49-F238E27FC236}">
                <a16:creationId xmlns:a16="http://schemas.microsoft.com/office/drawing/2014/main" id="{1E13376A-6718-4FFC-8D50-9F406D44D5C6}"/>
              </a:ext>
            </a:extLst>
          </p:cNvPr>
          <p:cNvSpPr/>
          <p:nvPr/>
        </p:nvSpPr>
        <p:spPr>
          <a:xfrm>
            <a:off x="7736842" y="311312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Narrow" panose="020B0606020202030204" pitchFamily="34" charset="0"/>
                <a:ea typeface="+mn-ea"/>
                <a:cs typeface="+mn-cs"/>
              </a:rPr>
              <a:t>Off payroll workers</a:t>
            </a:r>
          </a:p>
        </p:txBody>
      </p:sp>
      <p:sp>
        <p:nvSpPr>
          <p:cNvPr id="220" name="Rectangle 219">
            <a:extLst>
              <a:ext uri="{FF2B5EF4-FFF2-40B4-BE49-F238E27FC236}">
                <a16:creationId xmlns:a16="http://schemas.microsoft.com/office/drawing/2014/main" id="{7A4C0226-2D60-49A9-857E-96002E121BFD}"/>
              </a:ext>
            </a:extLst>
          </p:cNvPr>
          <p:cNvSpPr/>
          <p:nvPr/>
        </p:nvSpPr>
        <p:spPr>
          <a:xfrm>
            <a:off x="7736842" y="3461751"/>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alculate net pay</a:t>
            </a:r>
            <a:endParaRPr kumimoji="0" lang="en-GB" sz="646" b="0" i="0" u="none" strike="noStrike" kern="0" cap="none" spc="0" normalizeH="0" baseline="0" noProof="0">
              <a:ln>
                <a:noFill/>
              </a:ln>
              <a:solidFill>
                <a:srgbClr val="003300"/>
              </a:solidFill>
              <a:effectLst/>
              <a:uLnTx/>
              <a:uFillTx/>
              <a:latin typeface="Arial" panose="020B0604020202020204"/>
              <a:ea typeface="+mn-ea"/>
              <a:cs typeface="Arial"/>
            </a:endParaRPr>
          </a:p>
        </p:txBody>
      </p:sp>
      <p:sp>
        <p:nvSpPr>
          <p:cNvPr id="221" name="Rectangle 220">
            <a:extLst>
              <a:ext uri="{FF2B5EF4-FFF2-40B4-BE49-F238E27FC236}">
                <a16:creationId xmlns:a16="http://schemas.microsoft.com/office/drawing/2014/main" id="{C70D04B7-CA59-4DC9-B974-1029D05BCD7E}"/>
              </a:ext>
            </a:extLst>
          </p:cNvPr>
          <p:cNvSpPr/>
          <p:nvPr/>
        </p:nvSpPr>
        <p:spPr>
          <a:xfrm>
            <a:off x="7736842" y="3810381"/>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uto enrolment</a:t>
            </a:r>
          </a:p>
        </p:txBody>
      </p:sp>
      <p:sp>
        <p:nvSpPr>
          <p:cNvPr id="101" name="Rectangle 100">
            <a:extLst>
              <a:ext uri="{FF2B5EF4-FFF2-40B4-BE49-F238E27FC236}">
                <a16:creationId xmlns:a16="http://schemas.microsoft.com/office/drawing/2014/main" id="{D04E3534-87F4-4454-A320-F47C46142716}"/>
              </a:ext>
            </a:extLst>
          </p:cNvPr>
          <p:cNvSpPr/>
          <p:nvPr/>
        </p:nvSpPr>
        <p:spPr>
          <a:xfrm>
            <a:off x="7736842" y="276449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Narrow" panose="020B0606020202030204" pitchFamily="34" charset="0"/>
                <a:ea typeface="+mn-ea"/>
                <a:cs typeface="Arial"/>
              </a:rPr>
              <a:t>Starters, leavers and changes to pay</a:t>
            </a:r>
          </a:p>
        </p:txBody>
      </p:sp>
      <p:sp>
        <p:nvSpPr>
          <p:cNvPr id="129" name="Rectangle 128">
            <a:extLst>
              <a:ext uri="{FF2B5EF4-FFF2-40B4-BE49-F238E27FC236}">
                <a16:creationId xmlns:a16="http://schemas.microsoft.com/office/drawing/2014/main" id="{DC969E43-1B74-4F12-B786-DBC01CD89CCF}"/>
              </a:ext>
            </a:extLst>
          </p:cNvPr>
          <p:cNvSpPr/>
          <p:nvPr/>
        </p:nvSpPr>
        <p:spPr>
          <a:xfrm>
            <a:off x="7736842" y="4147072"/>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Payroll reconciliations</a:t>
            </a:r>
          </a:p>
        </p:txBody>
      </p:sp>
      <p:sp>
        <p:nvSpPr>
          <p:cNvPr id="155" name="Rectangle 154">
            <a:extLst>
              <a:ext uri="{FF2B5EF4-FFF2-40B4-BE49-F238E27FC236}">
                <a16:creationId xmlns:a16="http://schemas.microsoft.com/office/drawing/2014/main" id="{24F1D806-1F2C-4179-8441-B953D8D46A33}"/>
              </a:ext>
            </a:extLst>
          </p:cNvPr>
          <p:cNvSpPr/>
          <p:nvPr/>
        </p:nvSpPr>
        <p:spPr>
          <a:xfrm>
            <a:off x="4164112" y="5510166"/>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Statutory reporting</a:t>
            </a:r>
          </a:p>
        </p:txBody>
      </p:sp>
      <p:sp>
        <p:nvSpPr>
          <p:cNvPr id="161" name="Rectangle 160">
            <a:extLst>
              <a:ext uri="{FF2B5EF4-FFF2-40B4-BE49-F238E27FC236}">
                <a16:creationId xmlns:a16="http://schemas.microsoft.com/office/drawing/2014/main" id="{2E6BEB9F-6C6A-446A-B487-8A3A65AB5B27}"/>
              </a:ext>
            </a:extLst>
          </p:cNvPr>
          <p:cNvSpPr/>
          <p:nvPr/>
        </p:nvSpPr>
        <p:spPr>
          <a:xfrm>
            <a:off x="4990635" y="5510166"/>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Financial modelling</a:t>
            </a:r>
          </a:p>
        </p:txBody>
      </p:sp>
      <p:sp>
        <p:nvSpPr>
          <p:cNvPr id="207" name="Rectangle 206">
            <a:extLst>
              <a:ext uri="{FF2B5EF4-FFF2-40B4-BE49-F238E27FC236}">
                <a16:creationId xmlns:a16="http://schemas.microsoft.com/office/drawing/2014/main" id="{D2033599-5460-4D11-8C3C-C0AC717927C4}"/>
              </a:ext>
            </a:extLst>
          </p:cNvPr>
          <p:cNvSpPr/>
          <p:nvPr/>
        </p:nvSpPr>
        <p:spPr>
          <a:xfrm>
            <a:off x="5855876" y="1707308"/>
            <a:ext cx="847385" cy="1136492"/>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GL / CoA</a:t>
            </a:r>
          </a:p>
        </p:txBody>
      </p:sp>
      <p:sp>
        <p:nvSpPr>
          <p:cNvPr id="209" name="Rectangle 208">
            <a:extLst>
              <a:ext uri="{FF2B5EF4-FFF2-40B4-BE49-F238E27FC236}">
                <a16:creationId xmlns:a16="http://schemas.microsoft.com/office/drawing/2014/main" id="{5092E5D1-C61F-4525-BC18-7F3A720CFD92}"/>
              </a:ext>
            </a:extLst>
          </p:cNvPr>
          <p:cNvSpPr/>
          <p:nvPr/>
        </p:nvSpPr>
        <p:spPr>
          <a:xfrm>
            <a:off x="5905723" y="193243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reating and posting journals</a:t>
            </a:r>
          </a:p>
        </p:txBody>
      </p:sp>
      <p:sp>
        <p:nvSpPr>
          <p:cNvPr id="211" name="Rectangle 210">
            <a:extLst>
              <a:ext uri="{FF2B5EF4-FFF2-40B4-BE49-F238E27FC236}">
                <a16:creationId xmlns:a16="http://schemas.microsoft.com/office/drawing/2014/main" id="{559F9662-C0D4-4878-84A5-8F45226914ED}"/>
              </a:ext>
            </a:extLst>
          </p:cNvPr>
          <p:cNvSpPr/>
          <p:nvPr/>
        </p:nvSpPr>
        <p:spPr>
          <a:xfrm>
            <a:off x="5905723" y="2235428"/>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GL maintenance</a:t>
            </a:r>
          </a:p>
        </p:txBody>
      </p:sp>
      <p:sp>
        <p:nvSpPr>
          <p:cNvPr id="214" name="Rectangle 213">
            <a:extLst>
              <a:ext uri="{FF2B5EF4-FFF2-40B4-BE49-F238E27FC236}">
                <a16:creationId xmlns:a16="http://schemas.microsoft.com/office/drawing/2014/main" id="{A1EF5C91-31ED-4A0A-911D-3ADB07A5F153}"/>
              </a:ext>
            </a:extLst>
          </p:cNvPr>
          <p:cNvSpPr/>
          <p:nvPr/>
        </p:nvSpPr>
        <p:spPr>
          <a:xfrm>
            <a:off x="6736492" y="1707307"/>
            <a:ext cx="847385" cy="1135584"/>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Pensions</a:t>
            </a:r>
          </a:p>
        </p:txBody>
      </p:sp>
      <p:sp>
        <p:nvSpPr>
          <p:cNvPr id="215" name="Rectangle 214">
            <a:extLst>
              <a:ext uri="{FF2B5EF4-FFF2-40B4-BE49-F238E27FC236}">
                <a16:creationId xmlns:a16="http://schemas.microsoft.com/office/drawing/2014/main" id="{2C1FA734-3C50-4B32-97DC-A085328B39B6}"/>
              </a:ext>
            </a:extLst>
          </p:cNvPr>
          <p:cNvSpPr/>
          <p:nvPr/>
        </p:nvSpPr>
        <p:spPr>
          <a:xfrm>
            <a:off x="6786338" y="2538418"/>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Reporting on pensions</a:t>
            </a:r>
          </a:p>
        </p:txBody>
      </p:sp>
      <p:sp>
        <p:nvSpPr>
          <p:cNvPr id="217" name="Rectangle 216">
            <a:extLst>
              <a:ext uri="{FF2B5EF4-FFF2-40B4-BE49-F238E27FC236}">
                <a16:creationId xmlns:a16="http://schemas.microsoft.com/office/drawing/2014/main" id="{317A8C5E-FDEC-4CBA-9D0B-7ECADEDCCE40}"/>
              </a:ext>
            </a:extLst>
          </p:cNvPr>
          <p:cNvSpPr/>
          <p:nvPr/>
        </p:nvSpPr>
        <p:spPr>
          <a:xfrm>
            <a:off x="6786338" y="1932438"/>
            <a:ext cx="747692" cy="249231"/>
          </a:xfrm>
          <a:prstGeom prst="rect">
            <a:avLst/>
          </a:prstGeom>
          <a:solidFill>
            <a:srgbClr val="F5F8FA"/>
          </a:solidFill>
          <a:ln w="28575" cap="flat" cmpd="sng" algn="ctr">
            <a:solidFill>
              <a:srgbClr val="00B05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intain pension records</a:t>
            </a:r>
          </a:p>
        </p:txBody>
      </p:sp>
      <p:sp>
        <p:nvSpPr>
          <p:cNvPr id="222" name="Rectangle 221">
            <a:extLst>
              <a:ext uri="{FF2B5EF4-FFF2-40B4-BE49-F238E27FC236}">
                <a16:creationId xmlns:a16="http://schemas.microsoft.com/office/drawing/2014/main" id="{430B7257-FDB0-4233-BFC0-44730311C330}"/>
              </a:ext>
            </a:extLst>
          </p:cNvPr>
          <p:cNvSpPr/>
          <p:nvPr/>
        </p:nvSpPr>
        <p:spPr>
          <a:xfrm>
            <a:off x="6786338" y="223542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dminister pension schemes</a:t>
            </a:r>
          </a:p>
        </p:txBody>
      </p:sp>
      <p:sp>
        <p:nvSpPr>
          <p:cNvPr id="233" name="Rectangle 232">
            <a:extLst>
              <a:ext uri="{FF2B5EF4-FFF2-40B4-BE49-F238E27FC236}">
                <a16:creationId xmlns:a16="http://schemas.microsoft.com/office/drawing/2014/main" id="{2024A4EF-C2D0-4B2F-843A-BE86D559B9B6}"/>
              </a:ext>
            </a:extLst>
          </p:cNvPr>
          <p:cNvSpPr/>
          <p:nvPr/>
        </p:nvSpPr>
        <p:spPr>
          <a:xfrm>
            <a:off x="5855876" y="2885720"/>
            <a:ext cx="1728000" cy="1144315"/>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Budgeting and forecasting</a:t>
            </a:r>
          </a:p>
        </p:txBody>
      </p:sp>
      <p:sp>
        <p:nvSpPr>
          <p:cNvPr id="234" name="Rectangle 233">
            <a:extLst>
              <a:ext uri="{FF2B5EF4-FFF2-40B4-BE49-F238E27FC236}">
                <a16:creationId xmlns:a16="http://schemas.microsoft.com/office/drawing/2014/main" id="{5E980157-AA5D-42F7-8AA2-469F3F95B460}"/>
              </a:ext>
            </a:extLst>
          </p:cNvPr>
          <p:cNvSpPr/>
          <p:nvPr/>
        </p:nvSpPr>
        <p:spPr>
          <a:xfrm>
            <a:off x="5937095" y="3730293"/>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Setting course fees</a:t>
            </a:r>
          </a:p>
        </p:txBody>
      </p:sp>
      <p:sp>
        <p:nvSpPr>
          <p:cNvPr id="236" name="Rectangle 235">
            <a:extLst>
              <a:ext uri="{FF2B5EF4-FFF2-40B4-BE49-F238E27FC236}">
                <a16:creationId xmlns:a16="http://schemas.microsoft.com/office/drawing/2014/main" id="{5502589E-4089-4097-98CC-51FFC3A921B6}"/>
              </a:ext>
            </a:extLst>
          </p:cNvPr>
          <p:cNvSpPr/>
          <p:nvPr/>
        </p:nvSpPr>
        <p:spPr>
          <a:xfrm>
            <a:off x="5937095" y="3124608"/>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School and dept. budgeting </a:t>
            </a:r>
          </a:p>
        </p:txBody>
      </p:sp>
      <p:sp>
        <p:nvSpPr>
          <p:cNvPr id="237" name="Rectangle 236">
            <a:extLst>
              <a:ext uri="{FF2B5EF4-FFF2-40B4-BE49-F238E27FC236}">
                <a16:creationId xmlns:a16="http://schemas.microsoft.com/office/drawing/2014/main" id="{3B46CCB9-DAE8-4ABC-869A-5E6310FDAE66}"/>
              </a:ext>
            </a:extLst>
          </p:cNvPr>
          <p:cNvSpPr/>
          <p:nvPr/>
        </p:nvSpPr>
        <p:spPr>
          <a:xfrm>
            <a:off x="5937095" y="3427598"/>
            <a:ext cx="747692" cy="249231"/>
          </a:xfrm>
          <a:prstGeom prst="rect">
            <a:avLst/>
          </a:prstGeom>
          <a:solidFill>
            <a:srgbClr val="F5F8FA"/>
          </a:solidFill>
          <a:ln w="28575" cap="flat" cmpd="sng" algn="ctr">
            <a:solidFill>
              <a:schemeClr val="bg2"/>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dmin funds budget &amp; forecasting</a:t>
            </a:r>
          </a:p>
        </p:txBody>
      </p:sp>
      <p:sp>
        <p:nvSpPr>
          <p:cNvPr id="238" name="Rectangle 237">
            <a:extLst>
              <a:ext uri="{FF2B5EF4-FFF2-40B4-BE49-F238E27FC236}">
                <a16:creationId xmlns:a16="http://schemas.microsoft.com/office/drawing/2014/main" id="{F318D7D5-DFF0-4C1E-8AA4-BE5C135C029D}"/>
              </a:ext>
            </a:extLst>
          </p:cNvPr>
          <p:cNvSpPr/>
          <p:nvPr/>
        </p:nvSpPr>
        <p:spPr>
          <a:xfrm>
            <a:off x="6763618" y="3124608"/>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hest allocation</a:t>
            </a:r>
          </a:p>
        </p:txBody>
      </p:sp>
      <p:sp>
        <p:nvSpPr>
          <p:cNvPr id="239" name="Rectangle 238">
            <a:extLst>
              <a:ext uri="{FF2B5EF4-FFF2-40B4-BE49-F238E27FC236}">
                <a16:creationId xmlns:a16="http://schemas.microsoft.com/office/drawing/2014/main" id="{BF56F279-D698-4F12-8282-E3792C8FF44D}"/>
              </a:ext>
            </a:extLst>
          </p:cNvPr>
          <p:cNvSpPr/>
          <p:nvPr/>
        </p:nvSpPr>
        <p:spPr>
          <a:xfrm>
            <a:off x="6763618" y="3730293"/>
            <a:ext cx="747692" cy="249231"/>
          </a:xfrm>
          <a:prstGeom prst="rect">
            <a:avLst/>
          </a:prstGeom>
          <a:solidFill>
            <a:srgbClr val="F5F8FA"/>
          </a:solidFill>
          <a:ln w="28575" cap="flat" cmpd="sng" algn="ctr">
            <a:solidFill>
              <a:schemeClr val="bg2"/>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apital planning</a:t>
            </a:r>
          </a:p>
        </p:txBody>
      </p:sp>
      <p:grpSp>
        <p:nvGrpSpPr>
          <p:cNvPr id="2" name="Group 1">
            <a:extLst>
              <a:ext uri="{FF2B5EF4-FFF2-40B4-BE49-F238E27FC236}">
                <a16:creationId xmlns:a16="http://schemas.microsoft.com/office/drawing/2014/main" id="{473B95C5-ED9A-4562-A904-B0000CF5C763}"/>
              </a:ext>
            </a:extLst>
          </p:cNvPr>
          <p:cNvGrpSpPr/>
          <p:nvPr/>
        </p:nvGrpSpPr>
        <p:grpSpPr>
          <a:xfrm>
            <a:off x="7631076" y="4537107"/>
            <a:ext cx="963692" cy="557050"/>
            <a:chOff x="1467392" y="3787952"/>
            <a:chExt cx="1044000" cy="603471"/>
          </a:xfrm>
          <a:noFill/>
        </p:grpSpPr>
        <p:sp>
          <p:nvSpPr>
            <p:cNvPr id="126" name="Rectangle 125">
              <a:extLst>
                <a:ext uri="{FF2B5EF4-FFF2-40B4-BE49-F238E27FC236}">
                  <a16:creationId xmlns:a16="http://schemas.microsoft.com/office/drawing/2014/main" id="{900BEBCE-A4D6-4F4D-9379-D200E8078B6C}"/>
                </a:ext>
              </a:extLst>
            </p:cNvPr>
            <p:cNvSpPr/>
            <p:nvPr/>
          </p:nvSpPr>
          <p:spPr>
            <a:xfrm>
              <a:off x="1467392" y="3787952"/>
              <a:ext cx="1044000" cy="603471"/>
            </a:xfrm>
            <a:prstGeom prst="rect">
              <a:avLst/>
            </a:prstGeom>
            <a:grp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Audit</a:t>
              </a:r>
            </a:p>
          </p:txBody>
        </p:sp>
        <p:sp>
          <p:nvSpPr>
            <p:cNvPr id="130" name="Rectangle 129">
              <a:extLst>
                <a:ext uri="{FF2B5EF4-FFF2-40B4-BE49-F238E27FC236}">
                  <a16:creationId xmlns:a16="http://schemas.microsoft.com/office/drawing/2014/main" id="{1DD8A9DD-F89F-4D76-85A2-282179C1F783}"/>
                </a:ext>
              </a:extLst>
            </p:cNvPr>
            <p:cNvSpPr/>
            <p:nvPr/>
          </p:nvSpPr>
          <p:spPr>
            <a:xfrm>
              <a:off x="1551589" y="4023889"/>
              <a:ext cx="875607" cy="303827"/>
            </a:xfrm>
            <a:prstGeom prst="rect">
              <a:avLst/>
            </a:prstGeom>
            <a:grp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ordinate external and internal audits</a:t>
              </a:r>
            </a:p>
          </p:txBody>
        </p:sp>
      </p:grpSp>
      <p:sp>
        <p:nvSpPr>
          <p:cNvPr id="255" name="Rectangle 254">
            <a:extLst>
              <a:ext uri="{FF2B5EF4-FFF2-40B4-BE49-F238E27FC236}">
                <a16:creationId xmlns:a16="http://schemas.microsoft.com/office/drawing/2014/main" id="{5EBC2B2A-FF2D-40FA-89BF-59E8771B2381}"/>
              </a:ext>
            </a:extLst>
          </p:cNvPr>
          <p:cNvSpPr/>
          <p:nvPr/>
        </p:nvSpPr>
        <p:spPr>
          <a:xfrm>
            <a:off x="5020710" y="3730293"/>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Narrow" panose="020B0606020202030204" pitchFamily="34" charset="0"/>
                <a:ea typeface="+mn-ea"/>
                <a:cs typeface="Arial"/>
              </a:rPr>
              <a:t>Administer internal loans &amp; shared equity</a:t>
            </a:r>
            <a:endParaRPr kumimoji="0" lang="en-US" sz="646" b="0" i="0" u="none" strike="noStrike" kern="0" cap="none" spc="0" normalizeH="0" baseline="0" noProof="0">
              <a:ln>
                <a:noFill/>
              </a:ln>
              <a:solidFill>
                <a:srgbClr val="003300"/>
              </a:solidFill>
              <a:effectLst/>
              <a:uLnTx/>
              <a:uFillTx/>
              <a:latin typeface="Arial Narrow" panose="020B0606020202030204" pitchFamily="34" charset="0"/>
              <a:ea typeface="+mn-ea"/>
              <a:cs typeface="Arial"/>
            </a:endParaRPr>
          </a:p>
        </p:txBody>
      </p:sp>
      <p:sp>
        <p:nvSpPr>
          <p:cNvPr id="258" name="Rectangle 257">
            <a:extLst>
              <a:ext uri="{FF2B5EF4-FFF2-40B4-BE49-F238E27FC236}">
                <a16:creationId xmlns:a16="http://schemas.microsoft.com/office/drawing/2014/main" id="{571FB8AA-67C6-4C6F-A4CB-22E3060E3857}"/>
              </a:ext>
            </a:extLst>
          </p:cNvPr>
          <p:cNvSpPr/>
          <p:nvPr/>
        </p:nvSpPr>
        <p:spPr>
          <a:xfrm>
            <a:off x="5020710" y="4030273"/>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Bond accounting</a:t>
            </a:r>
          </a:p>
        </p:txBody>
      </p:sp>
      <p:sp>
        <p:nvSpPr>
          <p:cNvPr id="259" name="Rectangle 258">
            <a:extLst>
              <a:ext uri="{FF2B5EF4-FFF2-40B4-BE49-F238E27FC236}">
                <a16:creationId xmlns:a16="http://schemas.microsoft.com/office/drawing/2014/main" id="{08C2F5D5-55D3-4225-A354-A9D56026D9A9}"/>
              </a:ext>
            </a:extLst>
          </p:cNvPr>
          <p:cNvSpPr/>
          <p:nvPr/>
        </p:nvSpPr>
        <p:spPr>
          <a:xfrm>
            <a:off x="4127900" y="3427598"/>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Narrow" panose="020B0606020202030204" pitchFamily="34" charset="0"/>
                <a:ea typeface="+mn-ea"/>
                <a:cs typeface="Arial"/>
              </a:rPr>
              <a:t>Asset verification</a:t>
            </a:r>
          </a:p>
        </p:txBody>
      </p:sp>
      <p:sp>
        <p:nvSpPr>
          <p:cNvPr id="260" name="Rectangle 259">
            <a:extLst>
              <a:ext uri="{FF2B5EF4-FFF2-40B4-BE49-F238E27FC236}">
                <a16:creationId xmlns:a16="http://schemas.microsoft.com/office/drawing/2014/main" id="{E5284964-D66A-4448-A155-5F634C906D78}"/>
              </a:ext>
            </a:extLst>
          </p:cNvPr>
          <p:cNvSpPr/>
          <p:nvPr/>
        </p:nvSpPr>
        <p:spPr>
          <a:xfrm>
            <a:off x="4131233" y="3730293"/>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sset adjustments</a:t>
            </a:r>
          </a:p>
        </p:txBody>
      </p:sp>
      <p:sp>
        <p:nvSpPr>
          <p:cNvPr id="261" name="Rectangle 260">
            <a:extLst>
              <a:ext uri="{FF2B5EF4-FFF2-40B4-BE49-F238E27FC236}">
                <a16:creationId xmlns:a16="http://schemas.microsoft.com/office/drawing/2014/main" id="{2D136548-F0BF-4888-8AC2-9834CC818493}"/>
              </a:ext>
            </a:extLst>
          </p:cNvPr>
          <p:cNvSpPr/>
          <p:nvPr/>
        </p:nvSpPr>
        <p:spPr>
          <a:xfrm>
            <a:off x="2315824" y="2885720"/>
            <a:ext cx="1732398" cy="847402"/>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Research grants</a:t>
            </a:r>
          </a:p>
        </p:txBody>
      </p:sp>
      <p:sp>
        <p:nvSpPr>
          <p:cNvPr id="262" name="Rectangle 261">
            <a:extLst>
              <a:ext uri="{FF2B5EF4-FFF2-40B4-BE49-F238E27FC236}">
                <a16:creationId xmlns:a16="http://schemas.microsoft.com/office/drawing/2014/main" id="{52BBC1E2-F75C-49C9-859B-CEC32B00E4C6}"/>
              </a:ext>
            </a:extLst>
          </p:cNvPr>
          <p:cNvSpPr/>
          <p:nvPr/>
        </p:nvSpPr>
        <p:spPr>
          <a:xfrm>
            <a:off x="3222603" y="311085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ntract and Pre-Award</a:t>
            </a:r>
          </a:p>
        </p:txBody>
      </p:sp>
      <p:sp>
        <p:nvSpPr>
          <p:cNvPr id="264" name="Rectangle 263">
            <a:extLst>
              <a:ext uri="{FF2B5EF4-FFF2-40B4-BE49-F238E27FC236}">
                <a16:creationId xmlns:a16="http://schemas.microsoft.com/office/drawing/2014/main" id="{EB4C9431-0F6A-41A8-9269-8297C699DFE5}"/>
              </a:ext>
            </a:extLst>
          </p:cNvPr>
          <p:cNvSpPr/>
          <p:nvPr/>
        </p:nvSpPr>
        <p:spPr>
          <a:xfrm>
            <a:off x="2393753" y="311085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sting grant applications</a:t>
            </a:r>
          </a:p>
        </p:txBody>
      </p:sp>
      <p:sp>
        <p:nvSpPr>
          <p:cNvPr id="265" name="Rectangle 264">
            <a:extLst>
              <a:ext uri="{FF2B5EF4-FFF2-40B4-BE49-F238E27FC236}">
                <a16:creationId xmlns:a16="http://schemas.microsoft.com/office/drawing/2014/main" id="{6F481021-2EAD-44E8-99E2-BAACDD43F5F0}"/>
              </a:ext>
            </a:extLst>
          </p:cNvPr>
          <p:cNvSpPr/>
          <p:nvPr/>
        </p:nvSpPr>
        <p:spPr>
          <a:xfrm>
            <a:off x="2393753" y="341384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Budget and set up grant</a:t>
            </a:r>
            <a:endParaRPr kumimoji="0" lang="en-GB" sz="646" b="0" i="0" u="none" strike="noStrike" kern="0" cap="none" spc="0" normalizeH="0" baseline="0" noProof="0">
              <a:ln>
                <a:noFill/>
              </a:ln>
              <a:solidFill>
                <a:srgbClr val="003300"/>
              </a:solidFill>
              <a:effectLst/>
              <a:uLnTx/>
              <a:uFillTx/>
              <a:latin typeface="Arial" panose="020B0604020202020204"/>
              <a:ea typeface="+mn-ea"/>
              <a:cs typeface="+mn-cs"/>
            </a:endParaRPr>
          </a:p>
        </p:txBody>
      </p:sp>
      <p:sp>
        <p:nvSpPr>
          <p:cNvPr id="267" name="Rectangle 266">
            <a:extLst>
              <a:ext uri="{FF2B5EF4-FFF2-40B4-BE49-F238E27FC236}">
                <a16:creationId xmlns:a16="http://schemas.microsoft.com/office/drawing/2014/main" id="{39F7324B-7B2D-4BED-8CAB-E93BB214B9C6}"/>
              </a:ext>
            </a:extLst>
          </p:cNvPr>
          <p:cNvSpPr/>
          <p:nvPr/>
        </p:nvSpPr>
        <p:spPr>
          <a:xfrm>
            <a:off x="3222603" y="3413840"/>
            <a:ext cx="747692" cy="249231"/>
          </a:xfrm>
          <a:prstGeom prst="rect">
            <a:avLst/>
          </a:prstGeom>
          <a:solidFill>
            <a:srgbClr val="F5F8FA"/>
          </a:solid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Arial"/>
              </a:rPr>
              <a:t>Administer and close grants</a:t>
            </a:r>
          </a:p>
        </p:txBody>
      </p:sp>
      <p:sp>
        <p:nvSpPr>
          <p:cNvPr id="304" name="Rectangle 303">
            <a:extLst>
              <a:ext uri="{FF2B5EF4-FFF2-40B4-BE49-F238E27FC236}">
                <a16:creationId xmlns:a16="http://schemas.microsoft.com/office/drawing/2014/main" id="{8CA5FE73-6EAC-4739-B2E7-A74961E20A76}"/>
              </a:ext>
            </a:extLst>
          </p:cNvPr>
          <p:cNvSpPr/>
          <p:nvPr/>
        </p:nvSpPr>
        <p:spPr>
          <a:xfrm>
            <a:off x="5855876" y="5281348"/>
            <a:ext cx="1728000" cy="541934"/>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Strategy</a:t>
            </a:r>
          </a:p>
        </p:txBody>
      </p:sp>
      <p:sp>
        <p:nvSpPr>
          <p:cNvPr id="305" name="Rectangle 304">
            <a:extLst>
              <a:ext uri="{FF2B5EF4-FFF2-40B4-BE49-F238E27FC236}">
                <a16:creationId xmlns:a16="http://schemas.microsoft.com/office/drawing/2014/main" id="{1FD49316-030C-431B-A2AB-83BE79FE5106}"/>
              </a:ext>
            </a:extLst>
          </p:cNvPr>
          <p:cNvSpPr/>
          <p:nvPr/>
        </p:nvSpPr>
        <p:spPr>
          <a:xfrm>
            <a:off x="5932769" y="550269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Define Finance strategy</a:t>
            </a:r>
          </a:p>
        </p:txBody>
      </p:sp>
      <p:sp>
        <p:nvSpPr>
          <p:cNvPr id="306" name="Rectangle 305">
            <a:extLst>
              <a:ext uri="{FF2B5EF4-FFF2-40B4-BE49-F238E27FC236}">
                <a16:creationId xmlns:a16="http://schemas.microsoft.com/office/drawing/2014/main" id="{C2741DF0-C06A-4268-A974-977D23C4104C}"/>
              </a:ext>
            </a:extLst>
          </p:cNvPr>
          <p:cNvSpPr/>
          <p:nvPr/>
        </p:nvSpPr>
        <p:spPr>
          <a:xfrm>
            <a:off x="6759292" y="5502690"/>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nage functional performance</a:t>
            </a:r>
          </a:p>
        </p:txBody>
      </p:sp>
      <p:grpSp>
        <p:nvGrpSpPr>
          <p:cNvPr id="8" name="Group 7">
            <a:extLst>
              <a:ext uri="{FF2B5EF4-FFF2-40B4-BE49-F238E27FC236}">
                <a16:creationId xmlns:a16="http://schemas.microsoft.com/office/drawing/2014/main" id="{F751DD9A-068A-4222-A0EF-4D444FCB3C9D}"/>
              </a:ext>
            </a:extLst>
          </p:cNvPr>
          <p:cNvGrpSpPr/>
          <p:nvPr/>
        </p:nvGrpSpPr>
        <p:grpSpPr>
          <a:xfrm>
            <a:off x="2319147" y="3780486"/>
            <a:ext cx="1728000" cy="1156995"/>
            <a:chOff x="2512409" y="4112163"/>
            <a:chExt cx="1872000" cy="1253411"/>
          </a:xfrm>
          <a:noFill/>
        </p:grpSpPr>
        <p:sp>
          <p:nvSpPr>
            <p:cNvPr id="273" name="Rectangle 272">
              <a:extLst>
                <a:ext uri="{FF2B5EF4-FFF2-40B4-BE49-F238E27FC236}">
                  <a16:creationId xmlns:a16="http://schemas.microsoft.com/office/drawing/2014/main" id="{E374F7C2-9B1F-45C3-BA54-B97382EBA48E}"/>
                </a:ext>
              </a:extLst>
            </p:cNvPr>
            <p:cNvSpPr/>
            <p:nvPr/>
          </p:nvSpPr>
          <p:spPr>
            <a:xfrm>
              <a:off x="2512409" y="4112163"/>
              <a:ext cx="1872000" cy="1253411"/>
            </a:xfrm>
            <a:prstGeom prst="rect">
              <a:avLst/>
            </a:prstGeom>
            <a:grp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Tax</a:t>
              </a:r>
            </a:p>
          </p:txBody>
        </p:sp>
        <p:sp>
          <p:nvSpPr>
            <p:cNvPr id="275" name="Rectangle 274">
              <a:extLst>
                <a:ext uri="{FF2B5EF4-FFF2-40B4-BE49-F238E27FC236}">
                  <a16:creationId xmlns:a16="http://schemas.microsoft.com/office/drawing/2014/main" id="{22CC1BBF-7E7D-4CEA-B276-1556946776C1}"/>
                </a:ext>
              </a:extLst>
            </p:cNvPr>
            <p:cNvSpPr/>
            <p:nvPr/>
          </p:nvSpPr>
          <p:spPr>
            <a:xfrm>
              <a:off x="2595709" y="4695066"/>
              <a:ext cx="810000" cy="270000"/>
            </a:xfrm>
            <a:prstGeom prst="rect">
              <a:avLst/>
            </a:prstGeom>
            <a:grpFill/>
            <a:ln w="28575" cap="flat" cmpd="sng" algn="ctr">
              <a:solidFill>
                <a:schemeClr val="bg2"/>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rporation tax</a:t>
              </a:r>
            </a:p>
          </p:txBody>
        </p:sp>
        <p:sp>
          <p:nvSpPr>
            <p:cNvPr id="276" name="Rectangle 275">
              <a:extLst>
                <a:ext uri="{FF2B5EF4-FFF2-40B4-BE49-F238E27FC236}">
                  <a16:creationId xmlns:a16="http://schemas.microsoft.com/office/drawing/2014/main" id="{B49AFA84-6C02-4269-95B4-925FE8F27E33}"/>
                </a:ext>
              </a:extLst>
            </p:cNvPr>
            <p:cNvSpPr/>
            <p:nvPr/>
          </p:nvSpPr>
          <p:spPr>
            <a:xfrm>
              <a:off x="3491109" y="4353390"/>
              <a:ext cx="810000" cy="270000"/>
            </a:xfrm>
            <a:prstGeom prst="rect">
              <a:avLst/>
            </a:prstGeom>
            <a:grp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P11D</a:t>
              </a:r>
            </a:p>
          </p:txBody>
        </p:sp>
        <p:sp>
          <p:nvSpPr>
            <p:cNvPr id="277" name="Rectangle 276">
              <a:extLst>
                <a:ext uri="{FF2B5EF4-FFF2-40B4-BE49-F238E27FC236}">
                  <a16:creationId xmlns:a16="http://schemas.microsoft.com/office/drawing/2014/main" id="{9F59A761-4F18-4DC2-91D1-5290E697E9D8}"/>
                </a:ext>
              </a:extLst>
            </p:cNvPr>
            <p:cNvSpPr/>
            <p:nvPr/>
          </p:nvSpPr>
          <p:spPr>
            <a:xfrm>
              <a:off x="2595709" y="5032328"/>
              <a:ext cx="810000" cy="270000"/>
            </a:xfrm>
            <a:prstGeom prst="rect">
              <a:avLst/>
            </a:prstGeom>
            <a:grp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VAT</a:t>
              </a:r>
            </a:p>
          </p:txBody>
        </p:sp>
        <p:sp>
          <p:nvSpPr>
            <p:cNvPr id="124" name="Rectangle 123">
              <a:extLst>
                <a:ext uri="{FF2B5EF4-FFF2-40B4-BE49-F238E27FC236}">
                  <a16:creationId xmlns:a16="http://schemas.microsoft.com/office/drawing/2014/main" id="{8AE9B3AE-9BE1-476E-8B50-C31958123B6C}"/>
                </a:ext>
              </a:extLst>
            </p:cNvPr>
            <p:cNvSpPr/>
            <p:nvPr/>
          </p:nvSpPr>
          <p:spPr>
            <a:xfrm>
              <a:off x="3483434" y="4695066"/>
              <a:ext cx="810000" cy="270000"/>
            </a:xfrm>
            <a:prstGeom prst="rect">
              <a:avLst/>
            </a:prstGeom>
            <a:grpFill/>
            <a:ln w="28575" cap="flat" cmpd="sng" algn="ctr">
              <a:solidFill>
                <a:schemeClr val="bg2"/>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International tax</a:t>
              </a:r>
            </a:p>
          </p:txBody>
        </p:sp>
        <p:sp>
          <p:nvSpPr>
            <p:cNvPr id="125" name="Rectangle 124">
              <a:extLst>
                <a:ext uri="{FF2B5EF4-FFF2-40B4-BE49-F238E27FC236}">
                  <a16:creationId xmlns:a16="http://schemas.microsoft.com/office/drawing/2014/main" id="{29630522-19D8-422F-A698-B29627EB38EF}"/>
                </a:ext>
              </a:extLst>
            </p:cNvPr>
            <p:cNvSpPr/>
            <p:nvPr/>
          </p:nvSpPr>
          <p:spPr>
            <a:xfrm>
              <a:off x="2589558" y="4353390"/>
              <a:ext cx="810000" cy="270000"/>
            </a:xfrm>
            <a:prstGeom prst="rect">
              <a:avLst/>
            </a:prstGeom>
            <a:grpFill/>
            <a:ln w="28575" cap="flat" cmpd="sng" algn="ctr">
              <a:solidFill>
                <a:srgbClr val="CC9900"/>
              </a:solidFill>
              <a:prstDash val="solid"/>
              <a:miter lim="800000"/>
            </a:ln>
            <a:effectLst/>
          </p:spPr>
          <p:txBody>
            <a:bodyPr lIns="0" tIns="33231" rIns="0"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mpliance</a:t>
              </a:r>
            </a:p>
          </p:txBody>
        </p:sp>
      </p:grpSp>
      <p:sp>
        <p:nvSpPr>
          <p:cNvPr id="127" name="Rectangle 126">
            <a:extLst>
              <a:ext uri="{FF2B5EF4-FFF2-40B4-BE49-F238E27FC236}">
                <a16:creationId xmlns:a16="http://schemas.microsoft.com/office/drawing/2014/main" id="{39EBB7BE-169B-4176-AFF1-EA968F1FC14D}"/>
              </a:ext>
            </a:extLst>
          </p:cNvPr>
          <p:cNvSpPr/>
          <p:nvPr/>
        </p:nvSpPr>
        <p:spPr>
          <a:xfrm>
            <a:off x="5859545" y="4081751"/>
            <a:ext cx="1728000" cy="541934"/>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Insurance</a:t>
            </a:r>
          </a:p>
        </p:txBody>
      </p:sp>
      <p:sp>
        <p:nvSpPr>
          <p:cNvPr id="128" name="Rectangle 127">
            <a:extLst>
              <a:ext uri="{FF2B5EF4-FFF2-40B4-BE49-F238E27FC236}">
                <a16:creationId xmlns:a16="http://schemas.microsoft.com/office/drawing/2014/main" id="{40BDA91C-0E99-4B13-B459-682CD4E51B50}"/>
              </a:ext>
            </a:extLst>
          </p:cNvPr>
          <p:cNvSpPr/>
          <p:nvPr/>
        </p:nvSpPr>
        <p:spPr>
          <a:xfrm>
            <a:off x="5936437" y="4303094"/>
            <a:ext cx="747692" cy="249231"/>
          </a:xfrm>
          <a:prstGeom prst="rect">
            <a:avLst/>
          </a:prstGeom>
          <a:solidFill>
            <a:srgbClr val="F5F8FA"/>
          </a:solidFill>
          <a:ln w="28575" cap="flat" cmpd="sng" algn="ctr">
            <a:solidFill>
              <a:schemeClr val="bg2"/>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laims handling</a:t>
            </a:r>
          </a:p>
        </p:txBody>
      </p:sp>
      <p:sp>
        <p:nvSpPr>
          <p:cNvPr id="131" name="Rectangle 130">
            <a:extLst>
              <a:ext uri="{FF2B5EF4-FFF2-40B4-BE49-F238E27FC236}">
                <a16:creationId xmlns:a16="http://schemas.microsoft.com/office/drawing/2014/main" id="{E27DE670-5901-4FC3-9B6F-488B3612A9B6}"/>
              </a:ext>
            </a:extLst>
          </p:cNvPr>
          <p:cNvSpPr/>
          <p:nvPr/>
        </p:nvSpPr>
        <p:spPr>
          <a:xfrm>
            <a:off x="6762960" y="4303094"/>
            <a:ext cx="747692" cy="249231"/>
          </a:xfrm>
          <a:prstGeom prst="rect">
            <a:avLst/>
          </a:prstGeom>
          <a:solidFill>
            <a:srgbClr val="F5F8FA"/>
          </a:solidFill>
          <a:ln w="28575" cap="flat" cmpd="sng" algn="ctr">
            <a:solidFill>
              <a:srgbClr val="FFC0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nagement</a:t>
            </a:r>
            <a:b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b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and review</a:t>
            </a:r>
          </a:p>
        </p:txBody>
      </p:sp>
      <p:sp>
        <p:nvSpPr>
          <p:cNvPr id="135" name="Rectangle 134">
            <a:extLst>
              <a:ext uri="{FF2B5EF4-FFF2-40B4-BE49-F238E27FC236}">
                <a16:creationId xmlns:a16="http://schemas.microsoft.com/office/drawing/2014/main" id="{B8A60FAF-773D-49A8-8B38-994A2DC13741}"/>
              </a:ext>
            </a:extLst>
          </p:cNvPr>
          <p:cNvSpPr/>
          <p:nvPr/>
        </p:nvSpPr>
        <p:spPr>
          <a:xfrm>
            <a:off x="5861077" y="4681549"/>
            <a:ext cx="1728000" cy="541934"/>
          </a:xfrm>
          <a:prstGeom prst="rect">
            <a:avLst/>
          </a:prstGeom>
          <a:noFill/>
          <a:ln w="12700" cap="flat" cmpd="sng" algn="ctr">
            <a:solidFill>
              <a:schemeClr val="accent1"/>
            </a:solidFill>
            <a:prstDash val="solid"/>
            <a:miter lim="800000"/>
          </a:ln>
          <a:effectLst/>
        </p:spPr>
        <p:txBody>
          <a:bodyPr lIns="0" tIns="33231" rIns="0" bIns="33231" rtlCol="0" anchor="t"/>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923" b="1" i="0" u="none" strike="noStrike" kern="0" cap="none" spc="0" normalizeH="0" baseline="0" noProof="0">
                <a:ln>
                  <a:noFill/>
                </a:ln>
                <a:solidFill>
                  <a:srgbClr val="293947"/>
                </a:solidFill>
                <a:effectLst/>
                <a:uLnTx/>
                <a:uFillTx/>
                <a:latin typeface="Arial" panose="020B0604020202020204"/>
                <a:ea typeface="+mn-ea"/>
                <a:cs typeface="+mn-cs"/>
              </a:rPr>
              <a:t>Policy / Guidance</a:t>
            </a:r>
          </a:p>
        </p:txBody>
      </p:sp>
      <p:sp>
        <p:nvSpPr>
          <p:cNvPr id="136" name="Rectangle 135">
            <a:extLst>
              <a:ext uri="{FF2B5EF4-FFF2-40B4-BE49-F238E27FC236}">
                <a16:creationId xmlns:a16="http://schemas.microsoft.com/office/drawing/2014/main" id="{EB4DF22E-2B9D-44A9-A196-20D881C702DF}"/>
              </a:ext>
            </a:extLst>
          </p:cNvPr>
          <p:cNvSpPr/>
          <p:nvPr/>
        </p:nvSpPr>
        <p:spPr>
          <a:xfrm>
            <a:off x="5937969" y="4902892"/>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Setting policy</a:t>
            </a:r>
          </a:p>
        </p:txBody>
      </p:sp>
      <p:sp>
        <p:nvSpPr>
          <p:cNvPr id="138" name="Rectangle 137">
            <a:extLst>
              <a:ext uri="{FF2B5EF4-FFF2-40B4-BE49-F238E27FC236}">
                <a16:creationId xmlns:a16="http://schemas.microsoft.com/office/drawing/2014/main" id="{C79E51F1-322B-4325-9A1F-A2D6F6349EC8}"/>
              </a:ext>
            </a:extLst>
          </p:cNvPr>
          <p:cNvSpPr/>
          <p:nvPr/>
        </p:nvSpPr>
        <p:spPr>
          <a:xfrm>
            <a:off x="6764492" y="4902892"/>
            <a:ext cx="747692" cy="249231"/>
          </a:xfrm>
          <a:prstGeom prst="rect">
            <a:avLst/>
          </a:prstGeom>
          <a:solidFill>
            <a:srgbClr val="F5F8FA"/>
          </a:solidFill>
          <a:ln w="28575" cap="flat" cmpd="sng" algn="ctr">
            <a:solidFill>
              <a:srgbClr val="CC9900"/>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intain financial procedures</a:t>
            </a:r>
          </a:p>
        </p:txBody>
      </p:sp>
      <p:sp>
        <p:nvSpPr>
          <p:cNvPr id="139" name="Rectangle 138">
            <a:extLst>
              <a:ext uri="{FF2B5EF4-FFF2-40B4-BE49-F238E27FC236}">
                <a16:creationId xmlns:a16="http://schemas.microsoft.com/office/drawing/2014/main" id="{695FBE2D-B116-43AC-BA6E-7E4B3EBC4105}"/>
              </a:ext>
            </a:extLst>
          </p:cNvPr>
          <p:cNvSpPr/>
          <p:nvPr/>
        </p:nvSpPr>
        <p:spPr>
          <a:xfrm>
            <a:off x="7694749" y="5187488"/>
            <a:ext cx="808253" cy="280456"/>
          </a:xfrm>
          <a:prstGeom prst="rect">
            <a:avLst/>
          </a:prstGeom>
          <a:solidFill>
            <a:schemeClr val="accent5"/>
          </a:solidFill>
          <a:ln w="28575" cap="flat" cmpd="sng" algn="ctr">
            <a:solidFill>
              <a:schemeClr val="accent3"/>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Master Data Management</a:t>
            </a:r>
          </a:p>
        </p:txBody>
      </p:sp>
      <p:sp>
        <p:nvSpPr>
          <p:cNvPr id="132" name="Rectangle 131">
            <a:extLst>
              <a:ext uri="{FF2B5EF4-FFF2-40B4-BE49-F238E27FC236}">
                <a16:creationId xmlns:a16="http://schemas.microsoft.com/office/drawing/2014/main" id="{C7909200-EAC9-456E-AD18-813B098C1206}"/>
              </a:ext>
            </a:extLst>
          </p:cNvPr>
          <p:cNvSpPr/>
          <p:nvPr/>
        </p:nvSpPr>
        <p:spPr>
          <a:xfrm>
            <a:off x="7705625" y="5522833"/>
            <a:ext cx="808253" cy="280456"/>
          </a:xfrm>
          <a:prstGeom prst="rect">
            <a:avLst/>
          </a:prstGeom>
          <a:solidFill>
            <a:schemeClr val="accent5"/>
          </a:solidFill>
          <a:ln w="28575" cap="flat" cmpd="sng" algn="ctr">
            <a:solidFill>
              <a:schemeClr val="accent3"/>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Continuous Improvement</a:t>
            </a:r>
          </a:p>
        </p:txBody>
      </p:sp>
      <p:sp>
        <p:nvSpPr>
          <p:cNvPr id="140" name="Rectangle 139">
            <a:extLst>
              <a:ext uri="{FF2B5EF4-FFF2-40B4-BE49-F238E27FC236}">
                <a16:creationId xmlns:a16="http://schemas.microsoft.com/office/drawing/2014/main" id="{3BE11970-81E5-4D60-849A-FBA598F0216F}"/>
              </a:ext>
            </a:extLst>
          </p:cNvPr>
          <p:cNvSpPr/>
          <p:nvPr/>
        </p:nvSpPr>
        <p:spPr>
          <a:xfrm>
            <a:off x="7705625" y="5858179"/>
            <a:ext cx="808253" cy="280456"/>
          </a:xfrm>
          <a:prstGeom prst="rect">
            <a:avLst/>
          </a:prstGeom>
          <a:solidFill>
            <a:schemeClr val="accent5"/>
          </a:solidFill>
          <a:ln w="28575" cap="flat" cmpd="sng" algn="ctr">
            <a:solidFill>
              <a:schemeClr val="accent3"/>
            </a:solidFill>
            <a:prstDash val="solid"/>
            <a:miter lim="800000"/>
          </a:ln>
          <a:effectLst/>
        </p:spPr>
        <p:txBody>
          <a:bodyPr lIns="33231" tIns="33231" rIns="33231" bIns="33231" rtlCol="0"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0" lang="en-GB" sz="646" b="0" i="0" u="none" strike="noStrike" kern="0" cap="none" spc="0" normalizeH="0" baseline="0" noProof="0">
                <a:ln>
                  <a:noFill/>
                </a:ln>
                <a:solidFill>
                  <a:srgbClr val="003300"/>
                </a:solidFill>
                <a:effectLst/>
                <a:uLnTx/>
                <a:uFillTx/>
                <a:latin typeface="Arial" panose="020B0604020202020204"/>
                <a:ea typeface="+mn-ea"/>
                <a:cs typeface="+mn-cs"/>
              </a:rPr>
              <a:t>Portfolio Management</a:t>
            </a:r>
          </a:p>
        </p:txBody>
      </p:sp>
    </p:spTree>
    <p:extLst>
      <p:ext uri="{BB962C8B-B14F-4D97-AF65-F5344CB8AC3E}">
        <p14:creationId xmlns:p14="http://schemas.microsoft.com/office/powerpoint/2010/main" val="2597904394"/>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419521" y="3012414"/>
            <a:ext cx="4558794" cy="576263"/>
          </a:xfrm>
        </p:spPr>
        <p:txBody>
          <a:bodyPr/>
          <a:lstStyle/>
          <a:p>
            <a:pPr algn="ctr"/>
            <a:r>
              <a:rPr lang="en-GB" dirty="0" smtClean="0"/>
              <a:t>Next Steps</a:t>
            </a:r>
            <a:endParaRPr lang="en-GB" dirty="0"/>
          </a:p>
        </p:txBody>
      </p:sp>
      <p:sp>
        <p:nvSpPr>
          <p:cNvPr id="4" name="Slide Number Placeholder 3"/>
          <p:cNvSpPr>
            <a:spLocks noGrp="1"/>
          </p:cNvSpPr>
          <p:nvPr>
            <p:ph type="sldNum" sz="quarter" idx="10"/>
          </p:nvPr>
        </p:nvSpPr>
        <p:spPr/>
        <p:txBody>
          <a:bodyPr/>
          <a:lstStyle/>
          <a:p>
            <a:pPr>
              <a:defRPr/>
            </a:pPr>
            <a:fld id="{08BCD919-132B-49DF-A2C6-FA922BC216FD}" type="slidenum">
              <a:rPr lang="en-GB" altLang="en-US" smtClean="0">
                <a:solidFill>
                  <a:srgbClr val="003E72"/>
                </a:solidFill>
              </a:rPr>
              <a:pPr>
                <a:defRPr/>
              </a:pPr>
              <a:t>17</a:t>
            </a:fld>
            <a:endParaRPr lang="en-GB" altLang="en-US">
              <a:solidFill>
                <a:srgbClr val="003E72"/>
              </a:solidFill>
            </a:endParaRPr>
          </a:p>
        </p:txBody>
      </p:sp>
    </p:spTree>
    <p:extLst>
      <p:ext uri="{BB962C8B-B14F-4D97-AF65-F5344CB8AC3E}">
        <p14:creationId xmlns:p14="http://schemas.microsoft.com/office/powerpoint/2010/main" val="27226590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re-Approval Phase</a:t>
            </a:r>
            <a:br>
              <a:rPr lang="en-GB" dirty="0" smtClean="0"/>
            </a:br>
            <a:r>
              <a:rPr lang="en-GB" dirty="0" smtClean="0"/>
              <a:t>Work Streams</a:t>
            </a:r>
            <a:endParaRPr lang="en-GB" dirty="0"/>
          </a:p>
        </p:txBody>
      </p:sp>
      <p:sp>
        <p:nvSpPr>
          <p:cNvPr id="3" name="Content Placeholder 2"/>
          <p:cNvSpPr>
            <a:spLocks noGrp="1"/>
          </p:cNvSpPr>
          <p:nvPr>
            <p:ph idx="1"/>
          </p:nvPr>
        </p:nvSpPr>
        <p:spPr/>
        <p:txBody>
          <a:bodyPr/>
          <a:lstStyle/>
          <a:p>
            <a:r>
              <a:rPr lang="en-GB" sz="2000" dirty="0" smtClean="0"/>
              <a:t>Communications (Nicola Lawrence)</a:t>
            </a:r>
          </a:p>
          <a:p>
            <a:r>
              <a:rPr lang="en-GB" sz="2000" dirty="0" smtClean="0"/>
              <a:t>Reporting </a:t>
            </a:r>
            <a:r>
              <a:rPr lang="en-GB" sz="2000" dirty="0"/>
              <a:t>(Joanna Walmsley)</a:t>
            </a:r>
          </a:p>
          <a:p>
            <a:r>
              <a:rPr lang="en-GB" sz="2000" dirty="0"/>
              <a:t>Process </a:t>
            </a:r>
            <a:r>
              <a:rPr lang="en-GB" sz="2000" dirty="0" smtClean="0"/>
              <a:t>improvements </a:t>
            </a:r>
            <a:r>
              <a:rPr lang="en-GB" sz="2000" dirty="0"/>
              <a:t>(Stephen Kent-Taylor)</a:t>
            </a:r>
          </a:p>
          <a:p>
            <a:r>
              <a:rPr lang="en-GB" sz="2000" dirty="0" smtClean="0"/>
              <a:t>Organisational </a:t>
            </a:r>
            <a:r>
              <a:rPr lang="en-GB" sz="2000" dirty="0"/>
              <a:t>alignment/Change </a:t>
            </a:r>
            <a:r>
              <a:rPr lang="en-GB" sz="2000" dirty="0" smtClean="0"/>
              <a:t>management </a:t>
            </a:r>
            <a:r>
              <a:rPr lang="en-GB" sz="2000" dirty="0"/>
              <a:t>(Louise Vincent)</a:t>
            </a:r>
          </a:p>
          <a:p>
            <a:r>
              <a:rPr lang="en-GB" sz="2000" dirty="0" smtClean="0"/>
              <a:t>Finance systems (Michelle Bond)</a:t>
            </a:r>
          </a:p>
          <a:p>
            <a:r>
              <a:rPr lang="en-GB" sz="2000" dirty="0" smtClean="0"/>
              <a:t>Performance improvement (Chris Patten)</a:t>
            </a:r>
          </a:p>
          <a:p>
            <a:r>
              <a:rPr lang="en-GB" sz="2000" dirty="0"/>
              <a:t>General ledger (Mike Sinclair)</a:t>
            </a:r>
          </a:p>
          <a:p>
            <a:r>
              <a:rPr lang="en-GB" sz="2000" dirty="0" smtClean="0"/>
              <a:t>Master data management (TBD)</a:t>
            </a:r>
            <a:endParaRPr lang="en-GB" sz="2000" dirty="0"/>
          </a:p>
          <a:p>
            <a:endParaRPr lang="en-GB" dirty="0"/>
          </a:p>
        </p:txBody>
      </p:sp>
      <p:sp>
        <p:nvSpPr>
          <p:cNvPr id="4" name="Slide Number Placeholder 3"/>
          <p:cNvSpPr>
            <a:spLocks noGrp="1"/>
          </p:cNvSpPr>
          <p:nvPr>
            <p:ph type="sldNum" sz="quarter" idx="10"/>
          </p:nvPr>
        </p:nvSpPr>
        <p:spPr/>
        <p:txBody>
          <a:bodyPr/>
          <a:lstStyle/>
          <a:p>
            <a:pPr>
              <a:defRPr/>
            </a:pPr>
            <a:fld id="{D161869A-595C-4EA7-9471-C11BD2D249B0}" type="slidenum">
              <a:rPr lang="en-GB" altLang="en-US" smtClean="0">
                <a:solidFill>
                  <a:srgbClr val="FFFFFF"/>
                </a:solidFill>
              </a:rPr>
              <a:pPr>
                <a:defRPr/>
              </a:pPr>
              <a:t>18</a:t>
            </a:fld>
            <a:endParaRPr lang="en-GB" altLang="en-US">
              <a:solidFill>
                <a:srgbClr val="FFFFFF"/>
              </a:solidFill>
            </a:endParaRPr>
          </a:p>
        </p:txBody>
      </p:sp>
    </p:spTree>
    <p:extLst>
      <p:ext uri="{BB962C8B-B14F-4D97-AF65-F5344CB8AC3E}">
        <p14:creationId xmlns:p14="http://schemas.microsoft.com/office/powerpoint/2010/main" val="116884514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ChangeArrowheads="1"/>
          </p:cNvSpPr>
          <p:nvPr>
            <p:ph type="ctrTitle" idx="4294967295"/>
          </p:nvPr>
        </p:nvSpPr>
        <p:spPr>
          <a:xfrm>
            <a:off x="384175" y="2016125"/>
            <a:ext cx="8374063" cy="576263"/>
          </a:xfrm>
        </p:spPr>
        <p:txBody>
          <a:bodyPr/>
          <a:lstStyle/>
          <a:p>
            <a:pPr eaLnBrk="1" hangingPunct="1"/>
            <a:r>
              <a:rPr lang="en-GB" sz="2400" dirty="0" smtClean="0"/>
              <a:t>CUFS User Review – AP, AR, GL, and Fixed Assets</a:t>
            </a:r>
            <a:r>
              <a:rPr lang="en-GB" sz="3600" dirty="0" smtClean="0"/>
              <a:t/>
            </a:r>
            <a:br>
              <a:rPr lang="en-GB" sz="3600" dirty="0" smtClean="0"/>
            </a:br>
            <a:r>
              <a:rPr lang="en-GB" sz="3600" dirty="0" smtClean="0"/>
              <a:t/>
            </a:r>
            <a:br>
              <a:rPr lang="en-GB" sz="3600" dirty="0" smtClean="0"/>
            </a:br>
            <a:r>
              <a:rPr lang="en-GB" sz="1800" dirty="0" smtClean="0"/>
              <a:t>Financial Users Group</a:t>
            </a:r>
            <a:br>
              <a:rPr lang="en-GB" sz="1800" dirty="0" smtClean="0"/>
            </a:br>
            <a:r>
              <a:rPr lang="en-GB" sz="3600" dirty="0" smtClean="0"/>
              <a:t/>
            </a:r>
            <a:br>
              <a:rPr lang="en-GB" sz="3600" dirty="0" smtClean="0"/>
            </a:br>
            <a:endParaRPr lang="en-GB" sz="1800" dirty="0" smtClean="0"/>
          </a:p>
        </p:txBody>
      </p:sp>
      <p:sp>
        <p:nvSpPr>
          <p:cNvPr id="28674" name="Rectangle 3"/>
          <p:cNvSpPr>
            <a:spLocks noGrp="1" noChangeArrowheads="1"/>
          </p:cNvSpPr>
          <p:nvPr>
            <p:ph type="subTitle" idx="4294967295"/>
          </p:nvPr>
        </p:nvSpPr>
        <p:spPr>
          <a:xfrm>
            <a:off x="395288" y="5589588"/>
            <a:ext cx="8374062" cy="539750"/>
          </a:xfrm>
        </p:spPr>
        <p:txBody>
          <a:bodyPr/>
          <a:lstStyle/>
          <a:p>
            <a:pPr marL="0" indent="0" eaLnBrk="1" hangingPunct="1">
              <a:buFontTx/>
              <a:buNone/>
            </a:pPr>
            <a:r>
              <a:rPr lang="en-GB" sz="1800" b="1" dirty="0" smtClean="0">
                <a:solidFill>
                  <a:schemeClr val="tx2"/>
                </a:solidFill>
              </a:rPr>
              <a:t>Paul Humphreys</a:t>
            </a:r>
          </a:p>
        </p:txBody>
      </p:sp>
    </p:spTree>
    <p:extLst>
      <p:ext uri="{BB962C8B-B14F-4D97-AF65-F5344CB8AC3E}">
        <p14:creationId xmlns:p14="http://schemas.microsoft.com/office/powerpoint/2010/main" val="10531539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0" dirty="0" smtClean="0"/>
              <a:t>Agenda</a:t>
            </a:r>
            <a:endParaRPr lang="en-GB" b="0" dirty="0"/>
          </a:p>
        </p:txBody>
      </p:sp>
      <p:sp>
        <p:nvSpPr>
          <p:cNvPr id="4" name="Content Placeholder 3"/>
          <p:cNvSpPr>
            <a:spLocks noGrp="1"/>
          </p:cNvSpPr>
          <p:nvPr>
            <p:ph idx="1"/>
          </p:nvPr>
        </p:nvSpPr>
        <p:spPr>
          <a:xfrm>
            <a:off x="375001" y="1340768"/>
            <a:ext cx="8374063" cy="4067175"/>
          </a:xfrm>
        </p:spPr>
        <p:txBody>
          <a:bodyPr/>
          <a:lstStyle/>
          <a:p>
            <a:r>
              <a:rPr lang="en-GB" sz="2000" dirty="0" smtClean="0"/>
              <a:t>Welcome</a:t>
            </a:r>
          </a:p>
          <a:p>
            <a:r>
              <a:rPr lang="en-GB" sz="2000" dirty="0" smtClean="0"/>
              <a:t>Minutes of previous meeting – Daniel </a:t>
            </a:r>
            <a:r>
              <a:rPr lang="en-GB" sz="2000" dirty="0" err="1" smtClean="0"/>
              <a:t>Benham</a:t>
            </a:r>
            <a:endParaRPr lang="en-GB" sz="2000" dirty="0" smtClean="0"/>
          </a:p>
          <a:p>
            <a:r>
              <a:rPr lang="en-GB" sz="2000" dirty="0" smtClean="0"/>
              <a:t>Matters arising/action points – Daniel </a:t>
            </a:r>
            <a:r>
              <a:rPr lang="en-GB" sz="2000" dirty="0" err="1" smtClean="0"/>
              <a:t>Benham</a:t>
            </a:r>
            <a:endParaRPr lang="en-GB" sz="2000" dirty="0" smtClean="0"/>
          </a:p>
          <a:p>
            <a:r>
              <a:rPr lang="en-GB" sz="2000" dirty="0" smtClean="0"/>
              <a:t>Insurance – Nicky Routh</a:t>
            </a:r>
          </a:p>
          <a:p>
            <a:r>
              <a:rPr lang="en-GB" sz="2000" dirty="0" smtClean="0"/>
              <a:t>Finance Transformation Programme – John Galvin</a:t>
            </a:r>
          </a:p>
          <a:p>
            <a:r>
              <a:rPr lang="en-GB" sz="2000" dirty="0" smtClean="0"/>
              <a:t>Financial Systems – Paul Humphreys</a:t>
            </a:r>
          </a:p>
          <a:p>
            <a:r>
              <a:rPr lang="en-GB" sz="2000" dirty="0" err="1" smtClean="0"/>
              <a:t>ourcambridge</a:t>
            </a:r>
            <a:r>
              <a:rPr lang="en-GB" sz="2000" dirty="0" smtClean="0"/>
              <a:t> – Stephen Kent-Taylor</a:t>
            </a:r>
          </a:p>
          <a:p>
            <a:r>
              <a:rPr lang="en-GB" sz="2000" dirty="0" smtClean="0"/>
              <a:t>General Finance Matters – Chris Patten</a:t>
            </a:r>
          </a:p>
          <a:p>
            <a:r>
              <a:rPr lang="en-GB" sz="2000" dirty="0" smtClean="0"/>
              <a:t>AOB</a:t>
            </a:r>
            <a:endParaRPr lang="en-GB" sz="2000" dirty="0"/>
          </a:p>
        </p:txBody>
      </p:sp>
    </p:spTree>
    <p:extLst>
      <p:ext uri="{BB962C8B-B14F-4D97-AF65-F5344CB8AC3E}">
        <p14:creationId xmlns:p14="http://schemas.microsoft.com/office/powerpoint/2010/main" val="36696856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6012160" y="3092619"/>
            <a:ext cx="3122474" cy="3072685"/>
          </a:xfrm>
          <a:prstGeom prst="rect">
            <a:avLst/>
          </a:prstGeom>
        </p:spPr>
      </p:pic>
      <p:sp>
        <p:nvSpPr>
          <p:cNvPr id="2" name="Title 1"/>
          <p:cNvSpPr>
            <a:spLocks noGrp="1"/>
          </p:cNvSpPr>
          <p:nvPr>
            <p:ph type="title"/>
          </p:nvPr>
        </p:nvSpPr>
        <p:spPr/>
        <p:txBody>
          <a:bodyPr/>
          <a:lstStyle/>
          <a:p>
            <a:r>
              <a:rPr lang="en-GB" sz="2400" b="0" dirty="0" smtClean="0"/>
              <a:t>CUFS User Review</a:t>
            </a:r>
            <a:endParaRPr lang="en-GB" b="0" dirty="0"/>
          </a:p>
        </p:txBody>
      </p:sp>
      <p:sp>
        <p:nvSpPr>
          <p:cNvPr id="4" name="Content Placeholder 3"/>
          <p:cNvSpPr>
            <a:spLocks noGrp="1"/>
          </p:cNvSpPr>
          <p:nvPr>
            <p:ph idx="1"/>
          </p:nvPr>
        </p:nvSpPr>
        <p:spPr>
          <a:xfrm>
            <a:off x="353392" y="1628800"/>
            <a:ext cx="8374063" cy="4067175"/>
          </a:xfrm>
        </p:spPr>
        <p:txBody>
          <a:bodyPr/>
          <a:lstStyle/>
          <a:p>
            <a:r>
              <a:rPr lang="en-GB" sz="2000" dirty="0" smtClean="0"/>
              <a:t>Focus on AP, AR, GL, and Fixed Assets</a:t>
            </a:r>
          </a:p>
          <a:p>
            <a:r>
              <a:rPr lang="en-GB" sz="2000" dirty="0" err="1" smtClean="0"/>
              <a:t>iProcurement</a:t>
            </a:r>
            <a:r>
              <a:rPr lang="en-GB" sz="2000" dirty="0" smtClean="0"/>
              <a:t> and Grants not covered</a:t>
            </a:r>
          </a:p>
          <a:p>
            <a:r>
              <a:rPr lang="en-GB" sz="2000" dirty="0" smtClean="0"/>
              <a:t>Reviewed CUFS usage between 1</a:t>
            </a:r>
            <a:r>
              <a:rPr lang="en-GB" sz="2000" baseline="30000" dirty="0" smtClean="0"/>
              <a:t>st</a:t>
            </a:r>
            <a:r>
              <a:rPr lang="en-GB" sz="2000" dirty="0" smtClean="0"/>
              <a:t> August 2019 and 2</a:t>
            </a:r>
            <a:r>
              <a:rPr lang="en-GB" sz="2000" baseline="30000" dirty="0" smtClean="0"/>
              <a:t>nd</a:t>
            </a:r>
            <a:r>
              <a:rPr lang="en-GB" sz="2000" dirty="0" smtClean="0"/>
              <a:t> January 2020</a:t>
            </a:r>
          </a:p>
          <a:p>
            <a:r>
              <a:rPr lang="en-GB" sz="2000" dirty="0" smtClean="0"/>
              <a:t>55% of users process transactions</a:t>
            </a:r>
          </a:p>
          <a:p>
            <a:r>
              <a:rPr lang="en-GB" sz="2000" dirty="0" smtClean="0"/>
              <a:t>19% of users only run reports</a:t>
            </a:r>
          </a:p>
          <a:p>
            <a:r>
              <a:rPr lang="en-GB" sz="2000" dirty="0" smtClean="0"/>
              <a:t>26% of users do neither</a:t>
            </a:r>
          </a:p>
          <a:p>
            <a:r>
              <a:rPr lang="en-GB" sz="2000" dirty="0" smtClean="0"/>
              <a:t>Review in progress with School Finance teams</a:t>
            </a:r>
          </a:p>
          <a:p>
            <a:pPr marL="0" indent="0">
              <a:buNone/>
            </a:pPr>
            <a:endParaRPr lang="en-GB" sz="2000" dirty="0"/>
          </a:p>
        </p:txBody>
      </p:sp>
    </p:spTree>
    <p:extLst>
      <p:ext uri="{BB962C8B-B14F-4D97-AF65-F5344CB8AC3E}">
        <p14:creationId xmlns:p14="http://schemas.microsoft.com/office/powerpoint/2010/main" val="13456681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
                                            <p:txEl>
                                              <p:pRg st="4" end="4"/>
                                            </p:txEl>
                                          </p:spTgt>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4">
                                            <p:txEl>
                                              <p:pRg st="5" end="5"/>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3"/>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uiExpand="1" build="p"/>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b="0" dirty="0" smtClean="0"/>
              <a:t>CUFS User Review</a:t>
            </a:r>
            <a:endParaRPr lang="en-GB" b="0" dirty="0"/>
          </a:p>
        </p:txBody>
      </p:sp>
      <p:sp>
        <p:nvSpPr>
          <p:cNvPr id="4" name="Content Placeholder 3"/>
          <p:cNvSpPr>
            <a:spLocks noGrp="1"/>
          </p:cNvSpPr>
          <p:nvPr>
            <p:ph idx="1"/>
          </p:nvPr>
        </p:nvSpPr>
        <p:spPr>
          <a:xfrm>
            <a:off x="353392" y="1628800"/>
            <a:ext cx="8374063" cy="4067175"/>
          </a:xfrm>
        </p:spPr>
        <p:txBody>
          <a:bodyPr/>
          <a:lstStyle/>
          <a:p>
            <a:r>
              <a:rPr lang="en-GB" sz="2000" dirty="0" smtClean="0"/>
              <a:t>Infrequent users need the most support</a:t>
            </a:r>
          </a:p>
          <a:p>
            <a:r>
              <a:rPr lang="en-GB" sz="2000" dirty="0" smtClean="0"/>
              <a:t>Using CUFS may not be the best solution for infrequent users</a:t>
            </a:r>
            <a:endParaRPr lang="en-GB" sz="2000" dirty="0"/>
          </a:p>
          <a:p>
            <a:r>
              <a:rPr lang="en-GB" sz="2000" dirty="0" smtClean="0"/>
              <a:t>Looking for most cost effective future licence agreements</a:t>
            </a:r>
          </a:p>
          <a:p>
            <a:pPr marL="0" indent="0">
              <a:buNone/>
            </a:pPr>
            <a:r>
              <a:rPr lang="en-GB" sz="2000" dirty="0" smtClean="0"/>
              <a:t>Next Steps:</a:t>
            </a:r>
          </a:p>
          <a:p>
            <a:r>
              <a:rPr lang="en-GB" sz="2000" dirty="0" smtClean="0"/>
              <a:t>Remove </a:t>
            </a:r>
            <a:r>
              <a:rPr lang="en-GB" sz="2000" dirty="0"/>
              <a:t>access from those who do not process transactions or run </a:t>
            </a:r>
            <a:r>
              <a:rPr lang="en-GB" sz="2000" dirty="0" smtClean="0"/>
              <a:t>reports – those affected will be contacted</a:t>
            </a:r>
            <a:endParaRPr lang="en-GB" sz="2000" dirty="0"/>
          </a:p>
          <a:p>
            <a:r>
              <a:rPr lang="en-GB" sz="2000" dirty="0" smtClean="0"/>
              <a:t>Work with School Finance teams to provide support</a:t>
            </a:r>
          </a:p>
          <a:p>
            <a:r>
              <a:rPr lang="en-GB" sz="2000" dirty="0" smtClean="0"/>
              <a:t>New guidance for Departmental Key Contacts to determine most suitable access for new users</a:t>
            </a:r>
            <a:endParaRPr lang="en-GB" sz="2000" dirty="0"/>
          </a:p>
        </p:txBody>
      </p:sp>
    </p:spTree>
    <p:extLst>
      <p:ext uri="{BB962C8B-B14F-4D97-AF65-F5344CB8AC3E}">
        <p14:creationId xmlns:p14="http://schemas.microsoft.com/office/powerpoint/2010/main" val="37238351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ChangeArrowheads="1"/>
          </p:cNvSpPr>
          <p:nvPr>
            <p:ph type="ctrTitle" idx="4294967295"/>
          </p:nvPr>
        </p:nvSpPr>
        <p:spPr>
          <a:xfrm>
            <a:off x="384175" y="2016125"/>
            <a:ext cx="8374063" cy="576263"/>
          </a:xfrm>
        </p:spPr>
        <p:txBody>
          <a:bodyPr/>
          <a:lstStyle/>
          <a:p>
            <a:pPr eaLnBrk="1" hangingPunct="1"/>
            <a:r>
              <a:rPr lang="en-GB" sz="2400" i="1" dirty="0" err="1"/>
              <a:t>o</a:t>
            </a:r>
            <a:r>
              <a:rPr lang="en-GB" sz="2400" i="1" dirty="0" err="1" smtClean="0"/>
              <a:t>ur</a:t>
            </a:r>
            <a:r>
              <a:rPr lang="en-GB" sz="2400" dirty="0" err="1" smtClean="0"/>
              <a:t>cambridge</a:t>
            </a:r>
            <a:r>
              <a:rPr lang="en-GB" sz="2400" dirty="0" smtClean="0"/>
              <a:t> and Finance Update</a:t>
            </a:r>
            <a:r>
              <a:rPr lang="en-GB" sz="3600" dirty="0" smtClean="0"/>
              <a:t/>
            </a:r>
            <a:br>
              <a:rPr lang="en-GB" sz="3600" dirty="0" smtClean="0"/>
            </a:br>
            <a:r>
              <a:rPr lang="en-GB" sz="3600" dirty="0" smtClean="0"/>
              <a:t/>
            </a:r>
            <a:br>
              <a:rPr lang="en-GB" sz="3600" dirty="0" smtClean="0"/>
            </a:br>
            <a:r>
              <a:rPr lang="en-GB" sz="1800" dirty="0" smtClean="0"/>
              <a:t>Financial Users Group</a:t>
            </a:r>
            <a:br>
              <a:rPr lang="en-GB" sz="1800" dirty="0" smtClean="0"/>
            </a:br>
            <a:r>
              <a:rPr lang="en-GB" sz="1800" dirty="0" smtClean="0"/>
              <a:t>24 January 2020</a:t>
            </a:r>
            <a:r>
              <a:rPr lang="en-GB" sz="3600" dirty="0" smtClean="0"/>
              <a:t/>
            </a:r>
            <a:br>
              <a:rPr lang="en-GB" sz="3600" dirty="0" smtClean="0"/>
            </a:br>
            <a:endParaRPr lang="en-GB" sz="1800" dirty="0" smtClean="0"/>
          </a:p>
        </p:txBody>
      </p:sp>
      <p:sp>
        <p:nvSpPr>
          <p:cNvPr id="28674" name="Rectangle 3"/>
          <p:cNvSpPr>
            <a:spLocks noGrp="1" noChangeArrowheads="1"/>
          </p:cNvSpPr>
          <p:nvPr>
            <p:ph type="subTitle" idx="4294967295"/>
          </p:nvPr>
        </p:nvSpPr>
        <p:spPr>
          <a:xfrm>
            <a:off x="395288" y="5589588"/>
            <a:ext cx="8374062" cy="539750"/>
          </a:xfrm>
        </p:spPr>
        <p:txBody>
          <a:bodyPr/>
          <a:lstStyle/>
          <a:p>
            <a:pPr marL="0" indent="0" eaLnBrk="1" hangingPunct="1">
              <a:buFontTx/>
              <a:buNone/>
            </a:pPr>
            <a:r>
              <a:rPr lang="en-GB" sz="1800" b="1" dirty="0" smtClean="0">
                <a:solidFill>
                  <a:schemeClr val="tx2"/>
                </a:solidFill>
              </a:rPr>
              <a:t>Stephen Kent-Taylor and Chris Patten</a:t>
            </a:r>
          </a:p>
        </p:txBody>
      </p:sp>
    </p:spTree>
    <p:extLst>
      <p:ext uri="{BB962C8B-B14F-4D97-AF65-F5344CB8AC3E}">
        <p14:creationId xmlns:p14="http://schemas.microsoft.com/office/powerpoint/2010/main" val="329173154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What is it?</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755576" y="1844824"/>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5" name="AutoShape 6"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20" name="TextBox 19"/>
          <p:cNvSpPr txBox="1"/>
          <p:nvPr/>
        </p:nvSpPr>
        <p:spPr>
          <a:xfrm>
            <a:off x="460375" y="1628800"/>
            <a:ext cx="7279977" cy="4524315"/>
          </a:xfrm>
          <a:prstGeom prst="rect">
            <a:avLst/>
          </a:prstGeom>
          <a:noFill/>
        </p:spPr>
        <p:txBody>
          <a:bodyPr wrap="square" rtlCol="0">
            <a:spAutoFit/>
          </a:bodyPr>
          <a:lstStyle/>
          <a:p>
            <a:r>
              <a:rPr lang="en-GB" b="1" dirty="0" smtClean="0"/>
              <a:t>ourcambridge</a:t>
            </a:r>
            <a:r>
              <a:rPr lang="en-GB" dirty="0" smtClean="0"/>
              <a:t> is the programme asking</a:t>
            </a:r>
          </a:p>
          <a:p>
            <a:r>
              <a:rPr lang="en-GB" dirty="0"/>
              <a:t>	</a:t>
            </a:r>
            <a:r>
              <a:rPr lang="en-GB" dirty="0" smtClean="0"/>
              <a:t>staff to submit ideas to help</a:t>
            </a:r>
          </a:p>
          <a:p>
            <a:r>
              <a:rPr lang="en-GB" dirty="0"/>
              <a:t>	</a:t>
            </a:r>
            <a:r>
              <a:rPr lang="en-GB" dirty="0" smtClean="0"/>
              <a:t>improve the University:</a:t>
            </a:r>
          </a:p>
          <a:p>
            <a:endParaRPr lang="en-GB" dirty="0"/>
          </a:p>
          <a:p>
            <a:pPr marL="285750" indent="-285750">
              <a:buFontTx/>
              <a:buChar char="-"/>
            </a:pPr>
            <a:r>
              <a:rPr lang="en-GB" dirty="0" smtClean="0"/>
              <a:t>Supporting our staff</a:t>
            </a:r>
          </a:p>
          <a:p>
            <a:pPr marL="285750" indent="-285750">
              <a:buFontTx/>
              <a:buChar char="-"/>
            </a:pPr>
            <a:r>
              <a:rPr lang="en-GB" dirty="0" smtClean="0"/>
              <a:t>Ways of working</a:t>
            </a:r>
          </a:p>
          <a:p>
            <a:pPr marL="285750" indent="-285750">
              <a:buFontTx/>
              <a:buChar char="-"/>
            </a:pPr>
            <a:r>
              <a:rPr lang="en-GB" dirty="0" smtClean="0"/>
              <a:t>Simplifying our processes</a:t>
            </a:r>
          </a:p>
          <a:p>
            <a:pPr marL="285750" indent="-285750">
              <a:buFontTx/>
              <a:buChar char="-"/>
            </a:pPr>
            <a:endParaRPr lang="en-GB" dirty="0"/>
          </a:p>
          <a:p>
            <a:pPr marL="285750" indent="-285750">
              <a:buFontTx/>
              <a:buChar char="-"/>
            </a:pPr>
            <a:r>
              <a:rPr lang="en-GB" dirty="0" smtClean="0"/>
              <a:t>Started off with launch events and then</a:t>
            </a:r>
            <a:br>
              <a:rPr lang="en-GB" dirty="0" smtClean="0"/>
            </a:br>
            <a:r>
              <a:rPr lang="en-GB" dirty="0" smtClean="0"/>
              <a:t>	workshops</a:t>
            </a:r>
          </a:p>
          <a:p>
            <a:pPr marL="285750" indent="-285750">
              <a:buFontTx/>
              <a:buChar char="-"/>
            </a:pPr>
            <a:r>
              <a:rPr lang="en-GB" dirty="0" smtClean="0"/>
              <a:t>Staff can submit ideas online: </a:t>
            </a:r>
          </a:p>
          <a:p>
            <a:endParaRPr lang="en-GB" dirty="0" smtClean="0">
              <a:hlinkClick r:id="rId3"/>
            </a:endParaRPr>
          </a:p>
          <a:p>
            <a:r>
              <a:rPr lang="en-GB" dirty="0" smtClean="0">
                <a:hlinkClick r:id="rId3"/>
              </a:rPr>
              <a:t>ourcambridge@admin.cam.ac.uk</a:t>
            </a:r>
            <a:endParaRPr lang="en-GB" dirty="0" smtClean="0"/>
          </a:p>
          <a:p>
            <a:endParaRPr lang="en-GB" dirty="0" smtClean="0">
              <a:hlinkClick r:id="rId4"/>
            </a:endParaRPr>
          </a:p>
          <a:p>
            <a:r>
              <a:rPr lang="en-GB" dirty="0" smtClean="0">
                <a:hlinkClick r:id="rId4"/>
              </a:rPr>
              <a:t>https</a:t>
            </a:r>
            <a:r>
              <a:rPr lang="en-GB" dirty="0">
                <a:hlinkClick r:id="rId4"/>
              </a:rPr>
              <a:t>://</a:t>
            </a:r>
            <a:r>
              <a:rPr lang="en-GB" dirty="0" smtClean="0">
                <a:hlinkClick r:id="rId4"/>
              </a:rPr>
              <a:t>www.ourcambridge.admin.cam.ac.uk/submit-idea</a:t>
            </a:r>
            <a:endParaRPr lang="en-GB" dirty="0" smtClean="0"/>
          </a:p>
          <a:p>
            <a:endParaRPr lang="en-GB" dirty="0" smtClean="0"/>
          </a:p>
        </p:txBody>
      </p:sp>
      <p:pic>
        <p:nvPicPr>
          <p:cNvPr id="6" name="Picture 5"/>
          <p:cNvPicPr>
            <a:picLocks noChangeAspect="1"/>
          </p:cNvPicPr>
          <p:nvPr/>
        </p:nvPicPr>
        <p:blipFill>
          <a:blip r:embed="rId5"/>
          <a:stretch>
            <a:fillRect/>
          </a:stretch>
        </p:blipFill>
        <p:spPr>
          <a:xfrm>
            <a:off x="4788024" y="2492896"/>
            <a:ext cx="3600450" cy="619125"/>
          </a:xfrm>
          <a:prstGeom prst="rect">
            <a:avLst/>
          </a:prstGeom>
        </p:spPr>
      </p:pic>
    </p:spTree>
    <p:extLst>
      <p:ext uri="{BB962C8B-B14F-4D97-AF65-F5344CB8AC3E}">
        <p14:creationId xmlns:p14="http://schemas.microsoft.com/office/powerpoint/2010/main" val="55955001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AR customer sites (i.e. addresses)</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GB"/>
          </a:p>
        </p:txBody>
      </p:sp>
      <p:sp>
        <p:nvSpPr>
          <p:cNvPr id="3" name="TextBox 2"/>
          <p:cNvSpPr txBox="1"/>
          <p:nvPr/>
        </p:nvSpPr>
        <p:spPr>
          <a:xfrm>
            <a:off x="487352" y="1616926"/>
            <a:ext cx="7643607" cy="1477328"/>
          </a:xfrm>
          <a:prstGeom prst="rect">
            <a:avLst/>
          </a:prstGeom>
          <a:noFill/>
        </p:spPr>
        <p:txBody>
          <a:bodyPr wrap="square" rtlCol="0">
            <a:spAutoFit/>
          </a:bodyPr>
          <a:lstStyle/>
          <a:p>
            <a:r>
              <a:rPr lang="en-GB" dirty="0" smtClean="0"/>
              <a:t>Cleanse:</a:t>
            </a:r>
          </a:p>
          <a:p>
            <a:r>
              <a:rPr lang="en-GB" dirty="0" smtClean="0"/>
              <a:t>From 32,000 non-research customer sites in July, we are now down to around 9,000 sites across 7,000 customers.</a:t>
            </a:r>
          </a:p>
          <a:p>
            <a:endParaRPr lang="en-GB" dirty="0" smtClean="0"/>
          </a:p>
          <a:p>
            <a:r>
              <a:rPr lang="en-GB" dirty="0" smtClean="0"/>
              <a:t>Some of the 9,000 site will be duplicates.</a:t>
            </a:r>
          </a:p>
        </p:txBody>
      </p:sp>
    </p:spTree>
    <p:extLst>
      <p:ext uri="{BB962C8B-B14F-4D97-AF65-F5344CB8AC3E}">
        <p14:creationId xmlns:p14="http://schemas.microsoft.com/office/powerpoint/2010/main" val="169321661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AR customer sites (i.e. addresses)</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pic>
        <p:nvPicPr>
          <p:cNvPr id="5" name="Picture 4"/>
          <p:cNvPicPr>
            <a:picLocks noChangeAspect="1"/>
          </p:cNvPicPr>
          <p:nvPr/>
        </p:nvPicPr>
        <p:blipFill>
          <a:blip r:embed="rId3"/>
          <a:stretch>
            <a:fillRect/>
          </a:stretch>
        </p:blipFill>
        <p:spPr>
          <a:xfrm>
            <a:off x="1259632" y="2204864"/>
            <a:ext cx="5924550" cy="2943225"/>
          </a:xfrm>
          <a:prstGeom prst="rect">
            <a:avLst/>
          </a:prstGeom>
        </p:spPr>
      </p:pic>
      <p:sp>
        <p:nvSpPr>
          <p:cNvPr id="6" name="TextBox 5"/>
          <p:cNvSpPr txBox="1"/>
          <p:nvPr/>
        </p:nvSpPr>
        <p:spPr>
          <a:xfrm>
            <a:off x="611560" y="1844824"/>
            <a:ext cx="3384376"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Currently:</a:t>
            </a: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spTree>
    <p:extLst>
      <p:ext uri="{BB962C8B-B14F-4D97-AF65-F5344CB8AC3E}">
        <p14:creationId xmlns:p14="http://schemas.microsoft.com/office/powerpoint/2010/main" val="338475030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AR customer sites (i.e. addresses)</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6" name="TextBox 5"/>
          <p:cNvSpPr txBox="1"/>
          <p:nvPr/>
        </p:nvSpPr>
        <p:spPr>
          <a:xfrm>
            <a:off x="611560" y="1844824"/>
            <a:ext cx="3384376" cy="369332"/>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From next Tuesday (28 Jan):</a:t>
            </a: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pic>
        <p:nvPicPr>
          <p:cNvPr id="3" name="Picture 2"/>
          <p:cNvPicPr>
            <a:picLocks noChangeAspect="1"/>
          </p:cNvPicPr>
          <p:nvPr/>
        </p:nvPicPr>
        <p:blipFill>
          <a:blip r:embed="rId3"/>
          <a:stretch>
            <a:fillRect/>
          </a:stretch>
        </p:blipFill>
        <p:spPr>
          <a:xfrm>
            <a:off x="2581276" y="2348880"/>
            <a:ext cx="3981450" cy="3286125"/>
          </a:xfrm>
          <a:prstGeom prst="rect">
            <a:avLst/>
          </a:prstGeom>
        </p:spPr>
      </p:pic>
    </p:spTree>
    <p:extLst>
      <p:ext uri="{BB962C8B-B14F-4D97-AF65-F5344CB8AC3E}">
        <p14:creationId xmlns:p14="http://schemas.microsoft.com/office/powerpoint/2010/main" val="4067934351"/>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t>AR customer sites (i.e. addresses)</a:t>
            </a:r>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3" name="TextBox 2"/>
          <p:cNvSpPr txBox="1"/>
          <p:nvPr/>
        </p:nvSpPr>
        <p:spPr>
          <a:xfrm>
            <a:off x="487352" y="1616926"/>
            <a:ext cx="7643607" cy="4247317"/>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Benefits of making sites usable to all department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Reduce duplication</a:t>
            </a: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Reduce maintenance</a:t>
            </a: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Reduce numbers of set ups</a:t>
            </a: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Increase consistency</a:t>
            </a: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kumimoji="0" lang="en-GB" sz="1800" b="0" i="0" u="none" strike="noStrike" kern="1200" cap="none" spc="0" normalizeH="0" baseline="0" noProof="0" dirty="0" smtClean="0">
              <a:ln>
                <a:noFill/>
              </a:ln>
              <a:solidFill>
                <a:srgbClr val="003E72"/>
              </a:solidFill>
              <a:effectLst/>
              <a:uLnTx/>
              <a:uFillTx/>
              <a:latin typeface="Arial" charset="0"/>
              <a:ea typeface="+mn-ea"/>
              <a:cs typeface="+mn-cs"/>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Internal customer set up and maintenance will benefit a lot</a:t>
            </a: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a:p>
            <a:pPr marL="285750" marR="0" lvl="0" indent="-285750" algn="l" defTabSz="914400" rtl="0" eaLnBrk="1" fontAlgn="base" latinLnBrk="0" hangingPunct="1">
              <a:lnSpc>
                <a:spcPct val="100000"/>
              </a:lnSpc>
              <a:spcBef>
                <a:spcPct val="0"/>
              </a:spcBef>
              <a:spcAft>
                <a:spcPct val="0"/>
              </a:spcAft>
              <a:buClrTx/>
              <a:buSzTx/>
              <a:buFontTx/>
              <a:buChar char="-"/>
              <a:tabLst/>
              <a:defRPr/>
            </a:pPr>
            <a:endParaRPr kumimoji="0" lang="en-GB" sz="1800" b="0" i="0" u="none" strike="noStrike" kern="1200" cap="none" spc="0" normalizeH="0" baseline="0" noProof="0" dirty="0" smtClean="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A lot of data cleanse has already been done. Once the change goes live more data cleanse will be needed.</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You may see multiple duplicate sites on a customer initially.</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spTree>
    <p:extLst>
      <p:ext uri="{BB962C8B-B14F-4D97-AF65-F5344CB8AC3E}">
        <p14:creationId xmlns:p14="http://schemas.microsoft.com/office/powerpoint/2010/main" val="1807628772"/>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a:t>AR customer </a:t>
            </a:r>
            <a:r>
              <a:rPr lang="en-GB" sz="2400" dirty="0" smtClean="0"/>
              <a:t>set up</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3" name="TextBox 2"/>
          <p:cNvSpPr txBox="1"/>
          <p:nvPr/>
        </p:nvSpPr>
        <p:spPr>
          <a:xfrm>
            <a:off x="487352" y="1616926"/>
            <a:ext cx="7643607" cy="4524315"/>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smtClean="0">
                <a:ln>
                  <a:noFill/>
                </a:ln>
                <a:solidFill>
                  <a:srgbClr val="003E72"/>
                </a:solidFill>
                <a:effectLst/>
                <a:uLnTx/>
                <a:uFillTx/>
                <a:latin typeface="Arial" charset="0"/>
                <a:ea typeface="+mn-ea"/>
                <a:cs typeface="+mn-cs"/>
              </a:rPr>
              <a:t>Central AR customer set up service </a:t>
            </a: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has been running for several years, with quick turnaround.</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This has helped ensure consistency of customer record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With the sites simplification, we are now making the service mandatory in almost all case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smtClean="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A small number of departments have been identified who will retain limited ability to set up customers.</a:t>
            </a: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smtClean="0">
                <a:ln>
                  <a:noFill/>
                </a:ln>
                <a:solidFill>
                  <a:srgbClr val="003E72"/>
                </a:solidFill>
                <a:effectLst/>
                <a:uLnTx/>
                <a:uFillTx/>
                <a:latin typeface="Arial" charset="0"/>
                <a:ea typeface="+mn-ea"/>
                <a:cs typeface="+mn-cs"/>
              </a:rPr>
              <a:t>ALL site (address) amendments</a:t>
            </a: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 will be done centrally.</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smtClean="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FF0000"/>
                </a:solidFill>
                <a:effectLst/>
                <a:uLnTx/>
                <a:uFillTx/>
                <a:latin typeface="Arial" charset="0"/>
                <a:ea typeface="+mn-ea"/>
                <a:cs typeface="+mn-cs"/>
              </a:rPr>
              <a:t>Remember</a:t>
            </a: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 you can use </a:t>
            </a:r>
            <a:r>
              <a:rPr kumimoji="0" lang="en-GB" sz="1800" b="1" i="0" u="none" strike="noStrike" kern="1200" cap="none" spc="0" normalizeH="0" baseline="0" noProof="0" dirty="0" err="1" smtClean="0">
                <a:ln>
                  <a:noFill/>
                </a:ln>
                <a:solidFill>
                  <a:srgbClr val="003E72"/>
                </a:solidFill>
                <a:effectLst/>
                <a:uLnTx/>
                <a:uFillTx/>
                <a:latin typeface="Arial" charset="0"/>
                <a:ea typeface="+mn-ea"/>
                <a:cs typeface="+mn-cs"/>
              </a:rPr>
              <a:t>eSales</a:t>
            </a: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 (e.g. for individuals and payments up front). No need to set up a customer or raise an invoice!</a:t>
            </a: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smtClean="0">
              <a:ln>
                <a:noFill/>
              </a:ln>
              <a:solidFill>
                <a:srgbClr val="003E72"/>
              </a:solidFill>
              <a:effectLst/>
              <a:uLnTx/>
              <a:uFillTx/>
              <a:latin typeface="Arial" charset="0"/>
              <a:ea typeface="+mn-ea"/>
              <a:cs typeface="+mn-cs"/>
            </a:endParaRPr>
          </a:p>
        </p:txBody>
      </p:sp>
    </p:spTree>
    <p:extLst>
      <p:ext uri="{BB962C8B-B14F-4D97-AF65-F5344CB8AC3E}">
        <p14:creationId xmlns:p14="http://schemas.microsoft.com/office/powerpoint/2010/main" val="27633697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xEl>
                                              <p:pRg st="10" end="10"/>
                                            </p:txEl>
                                          </p:spTgt>
                                        </p:tgtEl>
                                        <p:attrNameLst>
                                          <p:attrName>style.visibility</p:attrName>
                                        </p:attrNameLst>
                                      </p:cBhvr>
                                      <p:to>
                                        <p:strVal val="visible"/>
                                      </p:to>
                                    </p:set>
                                    <p:animEffect transition="in" filter="fade">
                                      <p:cBhvr>
                                        <p:cTn id="7" dur="500"/>
                                        <p:tgtEl>
                                          <p:spTgt spid="3">
                                            <p:txEl>
                                              <p:pRg st="10" end="1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AR screen clean up</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5" name="AutoShape 4" descr="Image result for victorian christmas card duc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10" name="AutoShape 12" descr="Image result for victorian christmas card duc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11" name="AutoShape 14" descr="Image result for victorian christmas card duck"/>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9" name="TextBox 8"/>
          <p:cNvSpPr txBox="1"/>
          <p:nvPr/>
        </p:nvSpPr>
        <p:spPr>
          <a:xfrm>
            <a:off x="1187625" y="2276872"/>
            <a:ext cx="6768752" cy="1477328"/>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You may soon notice some changes to the AR Transactions screens.</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We’ve done a light touch clean up – removing some unused fields.</a:t>
            </a: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spTree>
    <p:extLst>
      <p:ext uri="{BB962C8B-B14F-4D97-AF65-F5344CB8AC3E}">
        <p14:creationId xmlns:p14="http://schemas.microsoft.com/office/powerpoint/2010/main" val="339266909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Rectangle 2"/>
          <p:cNvSpPr>
            <a:spLocks noGrp="1" noChangeArrowheads="1"/>
          </p:cNvSpPr>
          <p:nvPr>
            <p:ph type="ctrTitle" idx="4294967295"/>
          </p:nvPr>
        </p:nvSpPr>
        <p:spPr>
          <a:xfrm>
            <a:off x="384175" y="2016125"/>
            <a:ext cx="8374063" cy="1052835"/>
          </a:xfrm>
        </p:spPr>
        <p:txBody>
          <a:bodyPr/>
          <a:lstStyle/>
          <a:p>
            <a:pPr eaLnBrk="1" hangingPunct="1"/>
            <a:r>
              <a:rPr lang="en-GB" sz="3600" dirty="0" smtClean="0"/>
              <a:t>Insurance and Risk</a:t>
            </a:r>
            <a:br>
              <a:rPr lang="en-GB" sz="3600" dirty="0" smtClean="0"/>
            </a:br>
            <a:r>
              <a:rPr lang="en-GB" sz="3600" dirty="0"/>
              <a:t/>
            </a:r>
            <a:br>
              <a:rPr lang="en-GB" sz="3600" dirty="0"/>
            </a:br>
            <a:r>
              <a:rPr lang="en-GB" sz="3600" dirty="0" smtClean="0"/>
              <a:t/>
            </a:r>
            <a:br>
              <a:rPr lang="en-GB" sz="3600" dirty="0" smtClean="0"/>
            </a:br>
            <a:r>
              <a:rPr lang="en-GB" sz="1800" dirty="0">
                <a:solidFill>
                  <a:schemeClr val="bg1"/>
                </a:solidFill>
                <a:hlinkClick r:id="rId3"/>
              </a:rPr>
              <a:t>https://www.insurance.admin.cam.ac.uk</a:t>
            </a:r>
            <a:r>
              <a:rPr lang="en-GB" sz="3600" dirty="0" smtClean="0"/>
              <a:t/>
            </a:r>
            <a:br>
              <a:rPr lang="en-GB" sz="3600" dirty="0" smtClean="0"/>
            </a:br>
            <a:r>
              <a:rPr lang="en-GB" sz="3600" dirty="0" smtClean="0"/>
              <a:t/>
            </a:r>
            <a:br>
              <a:rPr lang="en-GB" sz="3600" dirty="0" smtClean="0"/>
            </a:br>
            <a:r>
              <a:rPr lang="en-GB" sz="1800" dirty="0" smtClean="0"/>
              <a:t/>
            </a:r>
            <a:br>
              <a:rPr lang="en-GB" sz="1800" dirty="0" smtClean="0"/>
            </a:br>
            <a:r>
              <a:rPr lang="en-GB" sz="3600" dirty="0" smtClean="0"/>
              <a:t/>
            </a:r>
            <a:br>
              <a:rPr lang="en-GB" sz="3600" dirty="0" smtClean="0"/>
            </a:br>
            <a:endParaRPr lang="en-GB" sz="1800" dirty="0" smtClean="0"/>
          </a:p>
        </p:txBody>
      </p:sp>
      <p:sp>
        <p:nvSpPr>
          <p:cNvPr id="28674" name="Rectangle 3"/>
          <p:cNvSpPr>
            <a:spLocks noGrp="1" noChangeArrowheads="1"/>
          </p:cNvSpPr>
          <p:nvPr>
            <p:ph type="subTitle" idx="4294967295"/>
          </p:nvPr>
        </p:nvSpPr>
        <p:spPr>
          <a:xfrm>
            <a:off x="395288" y="5589588"/>
            <a:ext cx="8374062" cy="539750"/>
          </a:xfrm>
        </p:spPr>
        <p:txBody>
          <a:bodyPr/>
          <a:lstStyle/>
          <a:p>
            <a:pPr marL="0" indent="0" eaLnBrk="1" hangingPunct="1">
              <a:buFontTx/>
              <a:buNone/>
            </a:pPr>
            <a:r>
              <a:rPr lang="en-GB" sz="1800" b="1" dirty="0" smtClean="0">
                <a:solidFill>
                  <a:schemeClr val="tx2"/>
                </a:solidFill>
              </a:rPr>
              <a:t>Nicky Routh – Head of Group Insurance</a:t>
            </a:r>
          </a:p>
        </p:txBody>
      </p:sp>
      <p:pic>
        <p:nvPicPr>
          <p:cNvPr id="4" name="Pictur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68144" y="4005064"/>
            <a:ext cx="3181106" cy="1986554"/>
          </a:xfrm>
          <a:prstGeom prst="rect">
            <a:avLst/>
          </a:prstGeom>
        </p:spPr>
      </p:pic>
      <p:sp>
        <p:nvSpPr>
          <p:cNvPr id="2" name="Rectangle 1"/>
          <p:cNvSpPr/>
          <p:nvPr/>
        </p:nvSpPr>
        <p:spPr>
          <a:xfrm>
            <a:off x="5292080" y="2944014"/>
            <a:ext cx="4572000" cy="923330"/>
          </a:xfrm>
          <a:prstGeom prst="rect">
            <a:avLst/>
          </a:prstGeom>
        </p:spPr>
        <p:txBody>
          <a:bodyPr>
            <a:spAutoFit/>
          </a:bodyPr>
          <a:lstStyle/>
          <a:p>
            <a:r>
              <a:rPr lang="en-GB" b="1" dirty="0">
                <a:solidFill>
                  <a:schemeClr val="bg1"/>
                </a:solidFill>
              </a:rPr>
              <a:t>Southampton University research centre blaze – world-class facility </a:t>
            </a:r>
            <a:r>
              <a:rPr lang="en-GB" b="1" dirty="0" smtClean="0">
                <a:solidFill>
                  <a:schemeClr val="bg1"/>
                </a:solidFill>
              </a:rPr>
              <a:t>destroyed</a:t>
            </a:r>
            <a:endParaRPr lang="en-GB" b="1" dirty="0">
              <a:solidFill>
                <a:schemeClr val="bg1"/>
              </a:solidFill>
            </a:endParaRPr>
          </a:p>
        </p:txBody>
      </p:sp>
    </p:spTree>
    <p:extLst>
      <p:ext uri="{BB962C8B-B14F-4D97-AF65-F5344CB8AC3E}">
        <p14:creationId xmlns:p14="http://schemas.microsoft.com/office/powerpoint/2010/main" val="3958630310"/>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AR screen clean up</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5" name="AutoShape 4" descr="Image result for victorian christmas card duc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10" name="AutoShape 12" descr="Image result for victorian christmas card duc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11" name="AutoShape 14" descr="Image result for victorian christmas card duck"/>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pic>
        <p:nvPicPr>
          <p:cNvPr id="7" name="Picture 6"/>
          <p:cNvPicPr>
            <a:picLocks noChangeAspect="1"/>
          </p:cNvPicPr>
          <p:nvPr/>
        </p:nvPicPr>
        <p:blipFill>
          <a:blip r:embed="rId3"/>
          <a:stretch>
            <a:fillRect/>
          </a:stretch>
        </p:blipFill>
        <p:spPr>
          <a:xfrm>
            <a:off x="758483" y="1412776"/>
            <a:ext cx="7627036" cy="4588436"/>
          </a:xfrm>
          <a:prstGeom prst="rect">
            <a:avLst/>
          </a:prstGeom>
        </p:spPr>
      </p:pic>
    </p:spTree>
    <p:extLst>
      <p:ext uri="{BB962C8B-B14F-4D97-AF65-F5344CB8AC3E}">
        <p14:creationId xmlns:p14="http://schemas.microsoft.com/office/powerpoint/2010/main" val="109971148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AR screen clean up</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5" name="AutoShape 4" descr="Image result for victorian christmas card duc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10" name="AutoShape 12" descr="Image result for victorian christmas card duc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11" name="AutoShape 14" descr="Image result for victorian christmas card duck"/>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pic>
        <p:nvPicPr>
          <p:cNvPr id="6" name="Picture 5"/>
          <p:cNvPicPr>
            <a:picLocks noChangeAspect="1"/>
          </p:cNvPicPr>
          <p:nvPr/>
        </p:nvPicPr>
        <p:blipFill>
          <a:blip r:embed="rId3"/>
          <a:stretch>
            <a:fillRect/>
          </a:stretch>
        </p:blipFill>
        <p:spPr>
          <a:xfrm>
            <a:off x="720403" y="1412776"/>
            <a:ext cx="7703196" cy="4680520"/>
          </a:xfrm>
          <a:prstGeom prst="rect">
            <a:avLst/>
          </a:prstGeom>
        </p:spPr>
      </p:pic>
    </p:spTree>
    <p:extLst>
      <p:ext uri="{BB962C8B-B14F-4D97-AF65-F5344CB8AC3E}">
        <p14:creationId xmlns:p14="http://schemas.microsoft.com/office/powerpoint/2010/main" val="2378397393"/>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AR screen clean up</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5" name="AutoShape 4" descr="Image result for victorian christmas card duc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10" name="AutoShape 12" descr="Image result for victorian christmas card duc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11" name="AutoShape 14" descr="Image result for victorian christmas card duck"/>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pic>
        <p:nvPicPr>
          <p:cNvPr id="7" name="Picture 6"/>
          <p:cNvPicPr>
            <a:picLocks noChangeAspect="1"/>
          </p:cNvPicPr>
          <p:nvPr/>
        </p:nvPicPr>
        <p:blipFill>
          <a:blip r:embed="rId3"/>
          <a:stretch>
            <a:fillRect/>
          </a:stretch>
        </p:blipFill>
        <p:spPr>
          <a:xfrm>
            <a:off x="794383" y="1412776"/>
            <a:ext cx="7607096" cy="4608512"/>
          </a:xfrm>
          <a:prstGeom prst="rect">
            <a:avLst/>
          </a:prstGeom>
        </p:spPr>
      </p:pic>
    </p:spTree>
    <p:extLst>
      <p:ext uri="{BB962C8B-B14F-4D97-AF65-F5344CB8AC3E}">
        <p14:creationId xmlns:p14="http://schemas.microsoft.com/office/powerpoint/2010/main" val="611372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AR screen clean up</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5" name="AutoShape 4" descr="Image result for victorian christmas card duck"/>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10" name="AutoShape 12" descr="Image result for victorian christmas card duck"/>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11" name="AutoShape 14" descr="Image result for victorian christmas card duck"/>
          <p:cNvSpPr>
            <a:spLocks noChangeAspect="1" noChangeArrowheads="1"/>
          </p:cNvSpPr>
          <p:nvPr/>
        </p:nvSpPr>
        <p:spPr bwMode="auto">
          <a:xfrm>
            <a:off x="612775" y="3127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pic>
        <p:nvPicPr>
          <p:cNvPr id="3" name="Picture 2"/>
          <p:cNvPicPr>
            <a:picLocks noChangeAspect="1"/>
          </p:cNvPicPr>
          <p:nvPr/>
        </p:nvPicPr>
        <p:blipFill>
          <a:blip r:embed="rId3"/>
          <a:stretch>
            <a:fillRect/>
          </a:stretch>
        </p:blipFill>
        <p:spPr>
          <a:xfrm>
            <a:off x="761119" y="1412776"/>
            <a:ext cx="7581990" cy="4608512"/>
          </a:xfrm>
          <a:prstGeom prst="rect">
            <a:avLst/>
          </a:prstGeom>
        </p:spPr>
      </p:pic>
    </p:spTree>
    <p:extLst>
      <p:ext uri="{BB962C8B-B14F-4D97-AF65-F5344CB8AC3E}">
        <p14:creationId xmlns:p14="http://schemas.microsoft.com/office/powerpoint/2010/main" val="3874350456"/>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Internal invoices: AR to AP</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5" name="AutoShape 6"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pic>
        <p:nvPicPr>
          <p:cNvPr id="7" name="Picture 6"/>
          <p:cNvPicPr>
            <a:picLocks noChangeAspect="1"/>
          </p:cNvPicPr>
          <p:nvPr/>
        </p:nvPicPr>
        <p:blipFill>
          <a:blip r:embed="rId3"/>
          <a:stretch>
            <a:fillRect/>
          </a:stretch>
        </p:blipFill>
        <p:spPr>
          <a:xfrm>
            <a:off x="1043608" y="1412776"/>
            <a:ext cx="7296791" cy="4717330"/>
          </a:xfrm>
          <a:prstGeom prst="rect">
            <a:avLst/>
          </a:prstGeom>
        </p:spPr>
      </p:pic>
    </p:spTree>
    <p:extLst>
      <p:ext uri="{BB962C8B-B14F-4D97-AF65-F5344CB8AC3E}">
        <p14:creationId xmlns:p14="http://schemas.microsoft.com/office/powerpoint/2010/main" val="3595109646"/>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Internal invoices: AR to AP</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5" name="AutoShape 6"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pic>
        <p:nvPicPr>
          <p:cNvPr id="6" name="Picture 5"/>
          <p:cNvPicPr>
            <a:picLocks noChangeAspect="1"/>
          </p:cNvPicPr>
          <p:nvPr/>
        </p:nvPicPr>
        <p:blipFill>
          <a:blip r:embed="rId3"/>
          <a:stretch>
            <a:fillRect/>
          </a:stretch>
        </p:blipFill>
        <p:spPr>
          <a:xfrm>
            <a:off x="56914" y="1844824"/>
            <a:ext cx="9030174" cy="3636441"/>
          </a:xfrm>
          <a:prstGeom prst="rect">
            <a:avLst/>
          </a:prstGeom>
        </p:spPr>
      </p:pic>
    </p:spTree>
    <p:extLst>
      <p:ext uri="{BB962C8B-B14F-4D97-AF65-F5344CB8AC3E}">
        <p14:creationId xmlns:p14="http://schemas.microsoft.com/office/powerpoint/2010/main" val="1021856603"/>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Finance web sites - searching</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pic>
        <p:nvPicPr>
          <p:cNvPr id="7" name="Picture 6"/>
          <p:cNvPicPr>
            <a:picLocks noChangeAspect="1"/>
          </p:cNvPicPr>
          <p:nvPr/>
        </p:nvPicPr>
        <p:blipFill>
          <a:blip r:embed="rId3"/>
          <a:stretch>
            <a:fillRect/>
          </a:stretch>
        </p:blipFill>
        <p:spPr>
          <a:xfrm>
            <a:off x="359450" y="1325528"/>
            <a:ext cx="7613650" cy="4681162"/>
          </a:xfrm>
          <a:prstGeom prst="rect">
            <a:avLst/>
          </a:prstGeom>
        </p:spPr>
      </p:pic>
      <p:sp>
        <p:nvSpPr>
          <p:cNvPr id="9" name="Rectangle 8"/>
          <p:cNvSpPr/>
          <p:nvPr/>
        </p:nvSpPr>
        <p:spPr>
          <a:xfrm>
            <a:off x="6086753" y="5085184"/>
            <a:ext cx="3057247" cy="369332"/>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003E72"/>
                </a:solidFill>
                <a:effectLst/>
                <a:uLnTx/>
                <a:uFillTx/>
                <a:latin typeface="Arial" charset="0"/>
                <a:ea typeface="+mn-ea"/>
                <a:cs typeface="+mn-cs"/>
                <a:hlinkClick r:id="rId4"/>
              </a:rPr>
              <a:t>https://ufs.admin.cam.ac.uk/</a:t>
            </a: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spTree>
    <p:extLst>
      <p:ext uri="{BB962C8B-B14F-4D97-AF65-F5344CB8AC3E}">
        <p14:creationId xmlns:p14="http://schemas.microsoft.com/office/powerpoint/2010/main" val="302910176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Finance web sites - searching</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pic>
        <p:nvPicPr>
          <p:cNvPr id="5" name="Picture 4"/>
          <p:cNvPicPr>
            <a:picLocks noChangeAspect="1"/>
          </p:cNvPicPr>
          <p:nvPr/>
        </p:nvPicPr>
        <p:blipFill>
          <a:blip r:embed="rId3"/>
          <a:stretch>
            <a:fillRect/>
          </a:stretch>
        </p:blipFill>
        <p:spPr>
          <a:xfrm>
            <a:off x="334010" y="1340768"/>
            <a:ext cx="8475982" cy="4786284"/>
          </a:xfrm>
          <a:prstGeom prst="rect">
            <a:avLst/>
          </a:prstGeom>
        </p:spPr>
      </p:pic>
      <p:sp>
        <p:nvSpPr>
          <p:cNvPr id="3" name="Rectangle 2"/>
          <p:cNvSpPr/>
          <p:nvPr/>
        </p:nvSpPr>
        <p:spPr>
          <a:xfrm>
            <a:off x="1331640" y="3861048"/>
            <a:ext cx="3057247" cy="369332"/>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003E72"/>
                </a:solidFill>
                <a:effectLst/>
                <a:uLnTx/>
                <a:uFillTx/>
                <a:latin typeface="Arial" charset="0"/>
                <a:ea typeface="+mn-ea"/>
                <a:cs typeface="+mn-cs"/>
                <a:hlinkClick r:id="rId4"/>
              </a:rPr>
              <a:t>https://ufs.admin.cam.ac.uk/</a:t>
            </a: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spTree>
    <p:extLst>
      <p:ext uri="{BB962C8B-B14F-4D97-AF65-F5344CB8AC3E}">
        <p14:creationId xmlns:p14="http://schemas.microsoft.com/office/powerpoint/2010/main" val="2857887197"/>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Finance web sites - searching</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pic>
        <p:nvPicPr>
          <p:cNvPr id="6" name="Picture 5"/>
          <p:cNvPicPr>
            <a:picLocks noChangeAspect="1"/>
          </p:cNvPicPr>
          <p:nvPr/>
        </p:nvPicPr>
        <p:blipFill>
          <a:blip r:embed="rId3"/>
          <a:stretch>
            <a:fillRect/>
          </a:stretch>
        </p:blipFill>
        <p:spPr>
          <a:xfrm>
            <a:off x="536574" y="1340768"/>
            <a:ext cx="8223252" cy="4765050"/>
          </a:xfrm>
          <a:prstGeom prst="rect">
            <a:avLst/>
          </a:prstGeom>
        </p:spPr>
      </p:pic>
      <p:sp>
        <p:nvSpPr>
          <p:cNvPr id="3" name="Rectangle 2"/>
          <p:cNvSpPr/>
          <p:nvPr/>
        </p:nvSpPr>
        <p:spPr>
          <a:xfrm>
            <a:off x="1979712" y="5517232"/>
            <a:ext cx="4044762" cy="369332"/>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003E72"/>
                </a:solidFill>
                <a:effectLst/>
                <a:uLnTx/>
                <a:uFillTx/>
                <a:latin typeface="Arial" charset="0"/>
                <a:ea typeface="+mn-ea"/>
                <a:cs typeface="+mn-cs"/>
                <a:hlinkClick r:id="rId4"/>
              </a:rPr>
              <a:t>https://www.finance.admin.cam.ac.uk/</a:t>
            </a: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spTree>
    <p:extLst>
      <p:ext uri="{BB962C8B-B14F-4D97-AF65-F5344CB8AC3E}">
        <p14:creationId xmlns:p14="http://schemas.microsoft.com/office/powerpoint/2010/main" val="313997918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Finance web sites - searching</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pic>
        <p:nvPicPr>
          <p:cNvPr id="7" name="Picture 6"/>
          <p:cNvPicPr>
            <a:picLocks noChangeAspect="1"/>
          </p:cNvPicPr>
          <p:nvPr/>
        </p:nvPicPr>
        <p:blipFill>
          <a:blip r:embed="rId3"/>
          <a:stretch>
            <a:fillRect/>
          </a:stretch>
        </p:blipFill>
        <p:spPr>
          <a:xfrm>
            <a:off x="873154" y="1340768"/>
            <a:ext cx="7495122" cy="4707227"/>
          </a:xfrm>
          <a:prstGeom prst="rect">
            <a:avLst/>
          </a:prstGeom>
        </p:spPr>
      </p:pic>
      <p:sp>
        <p:nvSpPr>
          <p:cNvPr id="5" name="Rectangle 4"/>
          <p:cNvSpPr/>
          <p:nvPr/>
        </p:nvSpPr>
        <p:spPr>
          <a:xfrm>
            <a:off x="2421380" y="1818089"/>
            <a:ext cx="4301242" cy="369332"/>
          </a:xfrm>
          <a:prstGeom prst="rect">
            <a:avLst/>
          </a:prstGeom>
        </p:spPr>
        <p:txBody>
          <a:bodyPr wrap="non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003E72"/>
                </a:solidFill>
                <a:effectLst/>
                <a:uLnTx/>
                <a:uFillTx/>
                <a:latin typeface="Arial" charset="0"/>
                <a:ea typeface="+mn-ea"/>
                <a:cs typeface="+mn-cs"/>
                <a:hlinkClick r:id="rId4"/>
              </a:rPr>
              <a:t>https://www.insurance.admin.cam.ac.uk/</a:t>
            </a: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spTree>
    <p:extLst>
      <p:ext uri="{BB962C8B-B14F-4D97-AF65-F5344CB8AC3E}">
        <p14:creationId xmlns:p14="http://schemas.microsoft.com/office/powerpoint/2010/main" val="355428748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solidFill>
                  <a:schemeClr val="bg1"/>
                </a:solidFill>
              </a:rPr>
              <a:t>Known knowns</a:t>
            </a:r>
            <a:endParaRPr lang="en-GB" dirty="0">
              <a:solidFill>
                <a:schemeClr val="bg1"/>
              </a:solidFill>
            </a:endParaRPr>
          </a:p>
        </p:txBody>
      </p:sp>
      <p:sp>
        <p:nvSpPr>
          <p:cNvPr id="4" name="Content Placeholder 3"/>
          <p:cNvSpPr>
            <a:spLocks noGrp="1"/>
          </p:cNvSpPr>
          <p:nvPr>
            <p:ph idx="1"/>
          </p:nvPr>
        </p:nvSpPr>
        <p:spPr>
          <a:xfrm>
            <a:off x="384177" y="1708152"/>
            <a:ext cx="3827784" cy="3616375"/>
          </a:xfrm>
          <a:prstGeom prst="rect">
            <a:avLst/>
          </a:prstGeom>
        </p:spPr>
        <p:txBody>
          <a:bodyPr wrap="square">
            <a:spAutoFit/>
          </a:bodyPr>
          <a:lstStyle/>
          <a:p>
            <a:pPr marL="342900" indent="-342900">
              <a:spcAft>
                <a:spcPts val="600"/>
              </a:spcAft>
              <a:buFont typeface="Arial" panose="020B0604020202020204" pitchFamily="34" charset="0"/>
              <a:buChar char="•"/>
              <a:defRPr/>
            </a:pPr>
            <a:r>
              <a:rPr lang="en-US" altLang="en-US" sz="2000" kern="0" dirty="0">
                <a:solidFill>
                  <a:schemeClr val="accent5">
                    <a:lumMod val="50000"/>
                  </a:schemeClr>
                </a:solidFill>
              </a:rPr>
              <a:t>Providers of higher or further education</a:t>
            </a:r>
          </a:p>
          <a:p>
            <a:pPr marL="342900" indent="-342900">
              <a:spcAft>
                <a:spcPts val="600"/>
              </a:spcAft>
              <a:buFont typeface="Arial" panose="020B0604020202020204" pitchFamily="34" charset="0"/>
              <a:buChar char="•"/>
              <a:defRPr/>
            </a:pPr>
            <a:r>
              <a:rPr lang="en-US" altLang="en-US" sz="2000" kern="0" dirty="0">
                <a:solidFill>
                  <a:schemeClr val="accent5">
                    <a:lumMod val="50000"/>
                  </a:schemeClr>
                </a:solidFill>
              </a:rPr>
              <a:t>Research establishments</a:t>
            </a:r>
          </a:p>
          <a:p>
            <a:pPr marL="342900" indent="-342900">
              <a:spcAft>
                <a:spcPts val="600"/>
              </a:spcAft>
              <a:buFont typeface="Arial" panose="020B0604020202020204" pitchFamily="34" charset="0"/>
              <a:buChar char="•"/>
              <a:defRPr/>
            </a:pPr>
            <a:r>
              <a:rPr lang="en-US" altLang="en-US" sz="2000" kern="0" dirty="0">
                <a:solidFill>
                  <a:schemeClr val="accent5">
                    <a:lumMod val="50000"/>
                  </a:schemeClr>
                </a:solidFill>
              </a:rPr>
              <a:t>Property </a:t>
            </a:r>
            <a:r>
              <a:rPr lang="en-US" altLang="en-US" sz="2000" kern="0" dirty="0" smtClean="0">
                <a:solidFill>
                  <a:schemeClr val="accent5">
                    <a:lumMod val="50000"/>
                  </a:schemeClr>
                </a:solidFill>
              </a:rPr>
              <a:t>owners</a:t>
            </a:r>
          </a:p>
          <a:p>
            <a:pPr marL="342900" indent="-342900">
              <a:spcAft>
                <a:spcPts val="600"/>
              </a:spcAft>
              <a:buFont typeface="Arial" panose="020B0604020202020204" pitchFamily="34" charset="0"/>
              <a:buChar char="•"/>
              <a:defRPr/>
            </a:pPr>
            <a:r>
              <a:rPr lang="en-GB" altLang="en-US" sz="2000" kern="0" dirty="0" smtClean="0">
                <a:solidFill>
                  <a:schemeClr val="accent5">
                    <a:lumMod val="50000"/>
                  </a:schemeClr>
                </a:solidFill>
              </a:rPr>
              <a:t>Investors</a:t>
            </a:r>
          </a:p>
          <a:p>
            <a:pPr marL="342900" indent="-342900">
              <a:spcAft>
                <a:spcPts val="600"/>
              </a:spcAft>
              <a:buFont typeface="Arial" panose="020B0604020202020204" pitchFamily="34" charset="0"/>
              <a:buChar char="•"/>
              <a:defRPr/>
            </a:pPr>
            <a:r>
              <a:rPr lang="fr-CA" sz="2000" dirty="0" smtClean="0">
                <a:solidFill>
                  <a:schemeClr val="accent5">
                    <a:lumMod val="50000"/>
                  </a:schemeClr>
                </a:solidFill>
              </a:rPr>
              <a:t>Research </a:t>
            </a:r>
            <a:r>
              <a:rPr lang="fr-CA" sz="2000" dirty="0">
                <a:solidFill>
                  <a:schemeClr val="accent5">
                    <a:lumMod val="50000"/>
                  </a:schemeClr>
                </a:solidFill>
              </a:rPr>
              <a:t>work with </a:t>
            </a:r>
            <a:r>
              <a:rPr lang="fr-CA" sz="2000" dirty="0" smtClean="0">
                <a:solidFill>
                  <a:schemeClr val="accent5">
                    <a:lumMod val="50000"/>
                  </a:schemeClr>
                </a:solidFill>
              </a:rPr>
              <a:t>aircraft, aerial </a:t>
            </a:r>
            <a:r>
              <a:rPr lang="fr-CA" sz="2000" dirty="0">
                <a:solidFill>
                  <a:schemeClr val="accent5">
                    <a:lumMod val="50000"/>
                  </a:schemeClr>
                </a:solidFill>
              </a:rPr>
              <a:t>devices and </a:t>
            </a:r>
            <a:r>
              <a:rPr lang="fr-CA" sz="2000" dirty="0" smtClean="0">
                <a:solidFill>
                  <a:schemeClr val="accent5">
                    <a:lumMod val="50000"/>
                  </a:schemeClr>
                </a:solidFill>
              </a:rPr>
              <a:t>satellites</a:t>
            </a:r>
          </a:p>
          <a:p>
            <a:pPr marL="342900" indent="-342900">
              <a:spcAft>
                <a:spcPts val="600"/>
              </a:spcAft>
              <a:buFont typeface="Arial" panose="020B0604020202020204" pitchFamily="34" charset="0"/>
              <a:buChar char="•"/>
              <a:defRPr/>
            </a:pPr>
            <a:r>
              <a:rPr lang="fr-CA" sz="2000" dirty="0" smtClean="0">
                <a:solidFill>
                  <a:schemeClr val="accent5">
                    <a:lumMod val="50000"/>
                  </a:schemeClr>
                </a:solidFill>
              </a:rPr>
              <a:t>Nuclear </a:t>
            </a:r>
          </a:p>
          <a:p>
            <a:pPr marL="342900" indent="-342900">
              <a:spcAft>
                <a:spcPts val="600"/>
              </a:spcAft>
              <a:buFont typeface="Arial" panose="020B0604020202020204" pitchFamily="34" charset="0"/>
              <a:buChar char="•"/>
              <a:defRPr/>
            </a:pPr>
            <a:r>
              <a:rPr lang="fr-CA" sz="2000" dirty="0" smtClean="0">
                <a:solidFill>
                  <a:schemeClr val="accent5">
                    <a:lumMod val="50000"/>
                  </a:schemeClr>
                </a:solidFill>
              </a:rPr>
              <a:t>Medical </a:t>
            </a:r>
            <a:r>
              <a:rPr lang="fr-CA" sz="2000" dirty="0">
                <a:solidFill>
                  <a:schemeClr val="accent5">
                    <a:lumMod val="50000"/>
                  </a:schemeClr>
                </a:solidFill>
              </a:rPr>
              <a:t>Research</a:t>
            </a:r>
          </a:p>
          <a:p>
            <a:pPr marL="342900" indent="-342900">
              <a:spcAft>
                <a:spcPts val="600"/>
              </a:spcAft>
              <a:buFont typeface="Arial" panose="020B0604020202020204" pitchFamily="34" charset="0"/>
              <a:buChar char="•"/>
              <a:defRPr/>
            </a:pPr>
            <a:endParaRPr lang="en-GB" altLang="en-US" sz="2000" kern="0" dirty="0">
              <a:solidFill>
                <a:schemeClr val="accent5">
                  <a:lumMod val="50000"/>
                </a:schemeClr>
              </a:solidFill>
            </a:endParaRPr>
          </a:p>
        </p:txBody>
      </p:sp>
      <p:sp>
        <p:nvSpPr>
          <p:cNvPr id="5" name="Content Placeholder 2"/>
          <p:cNvSpPr txBox="1">
            <a:spLocks/>
          </p:cNvSpPr>
          <p:nvPr/>
        </p:nvSpPr>
        <p:spPr>
          <a:xfrm>
            <a:off x="3923928" y="1708152"/>
            <a:ext cx="5021680" cy="3016992"/>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790575" indent="-342900">
              <a:defRPr/>
            </a:pPr>
            <a:r>
              <a:rPr lang="fr-CA" sz="2000" dirty="0" smtClean="0">
                <a:solidFill>
                  <a:schemeClr val="accent5">
                    <a:lumMod val="50000"/>
                  </a:schemeClr>
                </a:solidFill>
              </a:rPr>
              <a:t>Educate graduates to meet UK and global demand for higher level skills</a:t>
            </a:r>
          </a:p>
          <a:p>
            <a:pPr marL="790575" indent="-342900">
              <a:defRPr/>
            </a:pPr>
            <a:r>
              <a:rPr lang="fr-CA" sz="2000" dirty="0" smtClean="0">
                <a:solidFill>
                  <a:schemeClr val="accent5">
                    <a:lumMod val="50000"/>
                  </a:schemeClr>
                </a:solidFill>
              </a:rPr>
              <a:t>Generate world-class research that transforms lives</a:t>
            </a:r>
          </a:p>
          <a:p>
            <a:pPr marL="790575" indent="-342900">
              <a:defRPr/>
            </a:pPr>
            <a:r>
              <a:rPr lang="fr-CA" sz="2000" dirty="0" smtClean="0">
                <a:solidFill>
                  <a:schemeClr val="accent5">
                    <a:lumMod val="50000"/>
                  </a:schemeClr>
                </a:solidFill>
              </a:rPr>
              <a:t>Drive innovation that supports local and national economic growth</a:t>
            </a:r>
          </a:p>
          <a:p>
            <a:pPr marL="790575" indent="-342900">
              <a:defRPr/>
            </a:pPr>
            <a:r>
              <a:rPr lang="fr-CA" sz="2000" dirty="0">
                <a:solidFill>
                  <a:schemeClr val="accent5">
                    <a:lumMod val="50000"/>
                  </a:schemeClr>
                </a:solidFill>
                <a:hlinkClick r:id="rId2"/>
              </a:rPr>
              <a:t>https://</a:t>
            </a:r>
            <a:r>
              <a:rPr lang="fr-CA" sz="2000" dirty="0" smtClean="0">
                <a:solidFill>
                  <a:schemeClr val="accent5">
                    <a:lumMod val="50000"/>
                  </a:schemeClr>
                </a:solidFill>
                <a:hlinkClick r:id="rId2"/>
              </a:rPr>
              <a:t>www.universitiesuk.ac.uk/facts-and-stats/Documents/university-spending-explained-summary.pdf</a:t>
            </a:r>
            <a:r>
              <a:rPr lang="fr-CA" sz="2000" dirty="0" smtClean="0">
                <a:solidFill>
                  <a:schemeClr val="accent5">
                    <a:lumMod val="50000"/>
                  </a:schemeClr>
                </a:solidFill>
              </a:rPr>
              <a:t> </a:t>
            </a:r>
          </a:p>
          <a:p>
            <a:endParaRPr lang="en-GB" sz="2000" dirty="0">
              <a:solidFill>
                <a:schemeClr val="accent5">
                  <a:lumMod val="50000"/>
                </a:schemeClr>
              </a:solidFill>
            </a:endParaRP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56176" y="4788011"/>
            <a:ext cx="2926080" cy="1645920"/>
          </a:xfrm>
          <a:prstGeom prst="rect">
            <a:avLst/>
          </a:prstGeom>
        </p:spPr>
      </p:pic>
      <p:sp>
        <p:nvSpPr>
          <p:cNvPr id="7" name="TextBox 6"/>
          <p:cNvSpPr txBox="1"/>
          <p:nvPr/>
        </p:nvSpPr>
        <p:spPr>
          <a:xfrm>
            <a:off x="2595332" y="5564023"/>
            <a:ext cx="3518912" cy="646331"/>
          </a:xfrm>
          <a:prstGeom prst="rect">
            <a:avLst/>
          </a:prstGeom>
          <a:noFill/>
        </p:spPr>
        <p:txBody>
          <a:bodyPr wrap="none" rtlCol="0">
            <a:spAutoFit/>
          </a:bodyPr>
          <a:lstStyle/>
          <a:p>
            <a:r>
              <a:rPr lang="en-GB" dirty="0" smtClean="0">
                <a:solidFill>
                  <a:srgbClr val="0073CF"/>
                </a:solidFill>
              </a:rPr>
              <a:t>Loughborough University – 2015</a:t>
            </a:r>
          </a:p>
          <a:p>
            <a:r>
              <a:rPr lang="en-GB" dirty="0" smtClean="0">
                <a:solidFill>
                  <a:srgbClr val="0073CF"/>
                </a:solidFill>
              </a:rPr>
              <a:t>Natural disaster</a:t>
            </a:r>
            <a:endParaRPr lang="en-GB" dirty="0">
              <a:solidFill>
                <a:srgbClr val="0073CF"/>
              </a:solidFill>
            </a:endParaRPr>
          </a:p>
        </p:txBody>
      </p:sp>
    </p:spTree>
    <p:extLst>
      <p:ext uri="{BB962C8B-B14F-4D97-AF65-F5344CB8AC3E}">
        <p14:creationId xmlns:p14="http://schemas.microsoft.com/office/powerpoint/2010/main" val="105735428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400" dirty="0" smtClean="0"/>
              <a:t>Finance web sites - searching</a:t>
            </a:r>
            <a:endParaRPr lang="en-GB" sz="2400" dirty="0"/>
          </a:p>
        </p:txBody>
      </p:sp>
      <p:sp>
        <p:nvSpPr>
          <p:cNvPr id="4" name="AutoShape 4" descr="data:image/jpeg;base64,/9j/4AAQSkZJRgABAQAAAQABAAD/2wCEAAkGBhQSEBUUExQUFRUUFBQXFRUUFxUUFhQUFBQVFRUUFBQXHCYeGBokGRQVHy8gIycpLSwsFR4xNTAqNSYrLCkBCQoKDgwOGg8PGiwkHyQpLCwsLCwsLCwsLCwqLCwsLCwsLCwsLCwsKSwsLCkpLCksLCwsLCwsLCksLCwsLCwsLP/AABEIAMIBAwMBIgACEQEDEQH/xAAcAAABBQEBAQAAAAAAAAAAAAADAQIEBQYABwj/xABDEAABAwIDBAcGBQEGBQUAAAABAAIRAyEEEjEFQVFhBhMicYGRoQcUIzKx8EJSwdHhYhUzcoKS8SRDU2PSCCU0orL/xAAaAQADAQEBAQAAAAAAAAAAAAACAwQBBQAG/8QALhEAAgIBAwIFAwMFAQAAAAAAAAECEQMSITEEQRMiMlFhcYHBkbHwFCM0QuFE/9oADAMBAAIRAxEAPwDzCjsgBTqOCaNyktooraS5Usrfc7EcUY8IYykBuRmsShqcAkNjkK1qeITUoCBhDwnhNATg1AzRwCVNypTZCbY6U4FDD0uZeaPJ2EkJZCFnTg8IaNCAhPBCFIShnNZR4MlDUAsKQErKPEnq0haUHrClFcrKZ4flKaZXe8JPeFtM8IXlNNZONYJarY+YZZve1vFHGLfCBckuWBNZJ14Q6mMpDV7fU/QKM7HUvzjyd+yesEvYX40Pcm9YE0uUL3yn+cfT6ogcDo4HxXnhkuUeWSMuGSCUxyjufG9CdjAN6xQfYJtIkkJjgortot4pv9pt4pixy9gPEj7kgsXKN/abOK5Fol7Ga4e5YBidlSyntCnbGDQxPFNKAnhA2aN6kJwopyULLZ4Z1KcKSI1qe0IdRpGLCo9VxVmoOOEaJmOe+4vJFtbAablJY9RKbTEqVRdKonFMmxzcWFELiwJzQFzsMVI1T3LVJPgC6gkFI8U80nBN7QRWaLdOa8hN60p7cQN6x/Q8OFZEa4IFfGMaJcQFS1NtPqEii0QJBe+zW+O874E9yKGGU+BWTNGHPJqaWCDm5yWU6Y1qVHBjByDjdx5NBPJEwGIwrnZcNQxG0Kkx2Gmjhwebz2j45VkqO1sJSdnxQqY2qPlYXZKLe8XJHK3gnbQ9qmNqt6ugW4akLCnhmimANIL/AJj5q/F0ySv9/wCfghydS3/w3e1MHjabfjV8BsxhHyUgx1WOZEvP+orz7bmIwrXn/iK2KN5e4mm0nk35uOsLO1m1Kjpe8knWSXE/ume6NBvM+SrUFd/z9RDk2Tjtel+Gk0d+d31ciM2nI0YP8gUEUmj8P6pQRwCP6Ar6k47R4hh/ykfQrhXafwgc2Og+RUPOOH35pJHBe3CtPuTuunR08nWPgQoz6ZOhPj++hTWu8RzunCO6fFp7xqs2M0sGaXEppp81Owrabjlqgjg4Xjv/ADDnqjVujMiaT2vHI3TItPYXKLRVdSeK5GfseqDGUrluwNM2IYnNalanhfOtnfEDURrEiXOhNHBicGJgel6xDTPBQE8NUcVkvvKzSzSQWKPicPISHEphxK1RaPAmU4Qy3KVOpbMqvuGwOLrKwb0bcRdw8ASqo5EluR5MbvYrGXFkehV3FT6XRrL+P0/lLU2L/V6IJyhLY9BSi7I0Bd1QRv7P/qTPd4/EptPsVa0AqYYKo2tjG0hGrjoP3U7bO0G0WSDLjZo58TyWNq4gyXG7zvO7+forOnwOW8uCfNnUdo8jcVXk5qpn+gWj/FGncL9yhV8a99hZo0AsAOQGiVwBPE+Jknc0ff6LQbM6MWzVpHCmNf8AOf0H8LqNxgrZz9MpsocFsl1Q9lubidGjvKv8J0eaLvJdyb2W+ep9FfUsO2IFgNBEDwS1MKNx81Fkz5JbLYsx4scedyDUeylTORrW23CD4nUrFYmrLyea3OP2W5zCGkE87euiw2Pwr6boe0tPA/pxTukS3vkX1b2VcD6dwmkQg0KsFTKjJEhWkAApClTStPCSnsqoZSEr1WapNEtpQhWcx0tJaeVk/DsLmkgHs/T+PvRc98XIndHf/MIFs6GvzRs2WB2tTqU2ucQHEXHMWPqFywnXDgkSvAfZmrP8G3bikvvKX3UJfdFy7gdemIMSnDEJzMIET3UIXKJtMF1yXrUYYYJ3uaHVE2iK56TMVL9zXDBr2tHqA4ai57g1oklazZ2w2UwCe07edw5AKP0d2flBfxkfTT19FdMfO5KnO3SBYSnhwf5XOpxpommr980vXzEpYI2pT/hQ6gsptXTxUSqbrUZRWY/Eim0uOiw22ul3aGQZnT2s3yAz8oAMu5klbfbOD6yk5skT4xzgLyDaOAfRqZagIOoO5w/M07wul0WOE+eSTqJyjwXL8S6uRUIgnsgNbALt5DQoeNaaY7VjvE9ry3KNh8Y8Czi1o3i3kVEqS50CTJtxK6UcdP4I3O18mq6L1KTRnIzVNxOjRyHHmtN780rEbMwz2C41VvRlKnijJ3Y2M3FVRoOvHJOFUKj68hL7ylvAMWUuzUQsTSZVblqNDm893MHce5VfvPNN95PFB4LQXiJmb27sc4d9iSx3yu7tWnmJQcJidxWk2g3raTmHvbO5w0/UeKx72ljiDYhW425Rp8kmSKi9uCxxFLeNEEo2GrgsM7h6qC3EQeSNC2EJSILql0rXIjDXdBcI2r1rHaOdh2jvqPfS+lR3ks/iWRmHCfRT+jWO6uo0zA6xryOIphxb/wDYqBjaklx4k+pU0U/ElfwU2vDX3IS5IlVJMeiAJwCcAlXzbZ9Cc0IgTQngoGac0IoTQV2e6zk0M1OQ05jJIHEgeaGj1mlwdGKTBynzvHqjhtkRtKLDd9wERtDj9hJsWB6qRfX9krKIGtzH3ARHsggRyG/vWfw9SrVLj12X4tVoHVB1mPgGc43Ru3FHFX3MexeVGD74qJXZJ+/JV+IfVo5XOqsqMc9jD2SxzXPNpEuBHl3qPjcU99TIx2QNawvcGh7i54zBlMGw7IBJIOvJMUH7gtk14VZjtlsqtLXtBB1BUnD7KLrCvVD7QKmSo1/EfKC090DdZCwWKztvqC4EcC0wY9POLwmRtbxYL32ZRVuhtA/hiNwLo8phKzo1TpiWNAjXj4lXe1KdqOUlsvc0kHV0dnNY2GsIVF/bDagvaReCDFweFx3W5Ev8Wco8i9EU+Cmfhgdyb7vG5EpUyynV3lhc1skn/mBrSSdYDgfBMp7MBMuLnHeS4g+GWA0dyOMnHuY1fYaMKOCa7CiVKfQDAILiHEiHEkzGmbXTf42i8XEYFoYHDPZzZ+JUjKTH5u5NWZ+4LxoYcGOKYcFzUqhhA24mTrJc7T/ESiFq947PeEiv9zPFVO0MAK7nNbHXU9R+duocPBaQNWa6UtdSrMqsJaSIkcR/Dj5JuHI5ToXlglGzOukSDbiE0LR4QU8XEw2qNeDuYTsVsIMa47wNFfrXcj0PlGaAKc0GUei9xPZ1R8Q2xLjJ0stbBoHhXwfBTcA2m55FQ2jyJ3qDhWE2AklBdma69ihqwrpFhV2S7MctxNjxC5BZtZwELlvmM2N51gTmvCigpC9cDSd8nteE0vUNtVL1yzQeJnWpW1AofWJwes0mlvs7BVK78lMEnfwAkCTykjzW3PQlmHo9a4uqP7EHMGsa4kSWtAl0X1O7RUXQXBjJVquJAAMOkgRTbLtD/wBwLQHBFgZLrllxcyQBJuY1JuFs1GEHtuTyk5SpMHTFp3ogBg+XgiilAuQJ+h+qUubEAgi++65w4D1RLgNZP3CyGzcc2kwB+dryXuLeqrkjO8vFwwg2I36yNy2Hpb9tEOpRm5JnfJMJsJJbMFp9jKYlz65YGsc2m2o2oXVAWOqOpzlbTpu7YbmMlzw3kCj4nZ7qRNVoc9rm082UZ303sbk+QXLSNYvcRMFXRpACd/780N8acOUpvidlwDpM+/bJHyU6jnyA0Op1aTAeL3vaIA4CSUzZmCLG9q5JLi6IBe4y6OW5XFVjY3AjiCD4T96KMzEMcS1rgXNgOAN2yLSItbijUtqiga9yPtJpNNhAnJVa4i05CDJA33A04ppoh9MNdYt+R+9p4T+W5tz0iQpJYgUsQ105XZoJaYv2gYIPcUUXsefJW0cMZeKkEPzZo3SZkDiCGnXiJUesH09BnHFpb6h7h53nkp2L2lSYcrntaeEiedhcDmYTKOLY8S1zXdxB14wbJ+/NC7XBWuL3kS0taLwSC5zjaTlJAHijVaE03N1ltu8EEfRTKsAEmwAk8ANSfKUB1VpbmBBaBM8hqVvPB4jtaYXQhVNqU/zj1/QIf9oMvE2EmGvteOH2EWh+xmpe5JaLqr6VYTPhnEa0yHeE5T6H0UobRZxP+h//AIqSHCqxwMw4FpkEaiDZwBWxThJSPSqUWjzKnULSCDBGhG5bjo/t2liYpV3NpVIhrzZj7aO4FZbE7HNOxMnkoXUmYXWaUuDmpuLN1tbox1LnN7IJ3tMg9xWax2BfTBmCFDo4h4gBzgBukwPBSH4pxEFxPesqgr1EvYLPmPd5KXjcPTcLkKmFYjQppetrez3ajn7PE2cFyb1g4pEVgUjYh8pwCYNJhK0ErjNHcCQlaubTKOzCyluSQYMEIzIKUYJW3RzZDX1u1cNBdHEhLlKNXZpYbE6SMwIDMTTqGlVJcHU4kfIHNc0xI7LTYg3Ou7WUK1KuetoHMwtGVxBbvdIg8I38FTbc2HTxNMMdIi7XN1af1HJWHRTZHUYUUcxdDnknQHM6bN3dkgET9UqWVTxU+fwIcKnZU7XoitjaVMVKrWNoVajuqqOp5u2xjLtNxObzKJW6Kgs+HXxLHwMrnVqjwSdAWPJB52QMbtejS2hXdVexmWlh6bc0tDgC6o/ISIMFzE7EdKestgwatQ/LlBbTpxo+pVIyjd2WyTB0F1lTSSjxX29/ye8u9lZXxrquALnTncafaYXN7fX5DGU6ENnheIWrwwGXkHOsTNpIm6qG9HnswQYwF7mOpPgWz5HFzoHCSXcYjekpdJKLJa8uab2cyqHDU5SA09qbdmRwJmVkvNaj7v8ABq25G1GD+0XwPwUQ6LTLnG/hpw85oaQwpfVNYYeeuqn4hpZ4zWkOgkXPHTlCutiCpUxRrOaaeZ1PK1xEtYxpDc2oBM6boHNA2fgXZn52EfFrWcII+ITF/MRa6Ypaf0BasraRo9e33QANLT1nV/3ZMdgD8JdmvaSI14ydnACrWAA/+RVPfMcOc+au6NMBwMRBFzpEyYm/+6pauejUfmpVTmqVHgsDXtIJ1Dp/pnxHMDVPVseqi0ojtt/xD1+/VZ6hLaGIy2cxuIywbg55t/qVlhtquNRoNKq24OZ4YAIvucSh4ajkrVmuEsdUqibEOp1ALg8ZErY+Xkx7kTZuGaxoDRFhMauJuS46m5Oq6vRDnTAB4wJI0IP3u5BDqU30eyAarRZrmlodA0DmuLd2+Z3X1Meu91YgFhYwEHK7K5z3Dm0kNbpvme67krd2BfYdtZ/wwyY6xwBkgdgXcZnw8UM4hoLSHN7Z0zCQ/dAnQj9OCJWoOdVuJY2mGA2g5oc+R3wL8ESlgKYmWNg2JDQCJ4EBFaSMA4ofCJEyx7HjebOh3oV1OmCI4hw9Clo0yA9rtC0tnjaziO+PJMoggX9FvY8QW13COxNgJzNGltDdSsI8n5m5fEO+iZiWuzEsDYJJ7WaR5JGdZI+QCbxmJI5TCN7ozuZ7pPUy1nDQEB07zIv6ys67Efl81edM712xuptB83FZ80yulhXkX0IMr8zCDEnkVzsQeCY0KQ1ohMdC1ZHNYpheUSrTg2QoWmHLl0Llp49NDBwRGUwmhwT2uC+adn0R3VoraabZLmQOzR+Uq16OP+O0G0hw9FVBykYXFmm4PAktMxxQNHjX7SxIpNzHuAFy5xsGtG8lScHinU3ZHthz2Z2iZgtjOLWs0tPcHHco2zNoYfFZatNwc5kwD8zCRBlu4qB00ovfQL6ZIqUXCo0tMHs/NBG+CT4IEt9L29xb9zYtfIkngPI/ygAzcCxIIndEaSFmehvTqjiWtp1IbVBHYJADjxpHQg/l1G6QtbTeHE+A328EM8coSqSBi090dUba4G6IgwOP8oFaZMTawuR32Vg13CB3aW+9FW1WGTccWxF95S2bF2Q3MiOcki3nZQn79D48NysKxudCYgQd3BQqreE319VqYRBcRE2H3uQagM+MKQ5ton9TdC6u2/XhHIJsQGRnhBeO5S62vl52UV7uafEBkaoglv6qQ8IVRv3+yagGgUppT3BMcmJggntQnIzkEo0zAZTKj8oJOgE+CDjdo06Y7TgDuAuT4KkftN2JeGjssBk8+9MjBtX2Mveu5PqYUVO24Xdfu4DyUDGbHBFgrbrkxxBS45Jp2UuEWqoyVbA5ToguaAtRXw4Kr6uzgVdDPfJDPp64KBxTMquXbLCBUw7RuT1kT4J3hkuSu6tcpnVBcj1AaDcsfyTwJQhVsmddC4OmzukgthcHoTMXxRm1AdCsaa5PBaVRSWqK2mkeXBLavgIhYvY76dTrcM8sdrAMX5H9F6UHufhKT3tio6m0vER2iL29VRdFNkuqnPU/uwbDe4/stjV7UTEGwHhdBlm5VF9u/wCBaik20eNdJOjjmPc+kLTJA3d37IGzfaJjcMMgqZ2jRtYdZHc49oea9E2ts/UEW815x0p2aKcElouY/MR4bh+qv6bKsiWPIrJc0HHzRdGkwPtyqsbD8Mx7uIe5g3RYh3PfvR8J7aRUqBtaj1THfjpOzOaToSHCCBv7l5hisG5p+WJAI4wQCPqowYeCsfRYJL0kf9RkT5Poik95dYhzbEOGhBvZFqG/dru1TMPQIosA3MYI3wAErjC+be7OxVEXIbHiTM7+5QNs4zqqD6k3DDHfuVm5wJ3ced1genm1Jd1LSYF3/oP1VODG8k0hOSWlWF6ObTqPrFr3l8sJE7i2DbwlaGosdsN+XEUjp2wD3OGU/VbB51VGdVPYCG8QRAQXp70N7kCZrGvG9BrvGQ3TiUKsJEJqBPP8Z0irZjD8sE/LbfvUV21qztaj/MhE2lhQKzx/UUNlONy7SUatI5zcrqxaFBzzfzKtcMMggf7qtFQp7cQUE4uQyElEvaVaU/OqRmMKMMWVM8LK45izdV5oD6sKOKk8UopzvKFQSCc2xKlWVHe1SvdXcQVxoEbkxNIBxbIXULlLgcFyLUwdCLYVuNk8tBFigOplMa3hqo6XYsthnWXU6i5tbiE51EagrPqe+ganUcND5qXgq01GB5hpe0OPBpIBM9yhUwd90UAjRKkkGj1/C4UAZcuUNgACIiN3HvT6gAI0Wd9n+Br08O/rnk03FpoU3X6ttySN7QZ00gc1S+0Dpz1c4fDk59KlQH5OLG/1cTu010kWFyyaIbinOlchOm/TWnRLqVKH1dC6xbT/AHdy3b+C80w2GqYusASXOeYknjYnuE+oQAwvdHmde8r07or0ZGFZSqVbOdVoufp8OmHtcB37ye9dZKHTJJcsk82Z78I9Rxns9wtVrWuaYaGiLEdkAaEcgvO+iXQOhjquNdZtOniS2mGtAEMBY0w0iJDSTxzL2PG4gMpPeTAaxzpEWDWkyPJYX2L0P+Ac861KhJ8LfuqpY46qXcmjJ6W2I4ZAf6fpyUF9cHT/AHCgbQ6XYVmJqUHVcjm1DTIeLAi0zoW8+aI6uCOw5rhxaQR5hfNvFKO8kdfWnwxuLrhjHO0gEk925eTYmualUuJu5xK3/SrF5cK7i637rA4el2h3Lp9HHTFyJcztpF1UpQ2QbjKQtW2uKjGuGjhPjv8AVU+I2URSzEfhH0UvYb5ols/K70Knm1JWNSoPUYUCopRcor33Qo8wRcg1SdyLiBlZm4blm8T0zY0w1pd6XVOOEp+lCpSjHkpekFItxDucHzCrm1CjbS2ka1QvIid3BRwe9diCaikznSacm0GFRKKiEntW0amGYQplOiCq7wUrDutvSpodjavcliiQigOCjtcf913XEbklplKaQcVjwSOr94TWVJTg3u+iGqCuxvXc0iVzb71y3YzcmuokHsu80/rC35vPVN96B1Annb1S5+9I37jkl2DMqA/wjU6XAg+ig5r8Pp5KTSfy8QglH2CUgrqRWz6J9EW9WK2JaXF12UjIGXc5+8zItw1UboX0bNc9bU/umkwD/wAwjXX8I05m3FanpR0jZg6BqOgudLabNM749GjUndbeRMWScm/Djya2uSn6edMfdqfVUj8Z4tF+qZ+Y8zu815BVcSeJOpNzf9UbGYx9V7qlR2Z7ySSd5PLhy4K16I9GnYyuGCcoh1Rw/C2fqV08WOPTwt/chlJ5JUi/9nfQ7r3CtUb8Jh0M/FqDTkGtn0Phvtp4EuDgIgi51M7gPverTBYZtJjabAAxoADeAHEeBQMSBFp0+zPFcjLklklqZXCKiqR5Jt7aeNpOqURVrii7MAwPfkLTbKBOkWha/wBkG3678UzDG1FmFqZmzZzxVzB4t2XfEiJiB5Stq7N6zMCBNot9Torb2VdFDRqVcQTqDSYI1AcC9xPe0DwK6fS9Q5tRkT54KKbPLPbNsB2G2g98dms4vaRpDrx3i48Faey5oOCqT/1jf/KLK+/9RmFBbhXXzF1RvKGiR6uPmqj2aNDdnEn/AKrkXV7YNPzQvp98l/APpy74bGzvJWSwrjmELS9Na0hnKVmcI/tjgs6Zf2RmR+c9JxuCqHDNcWnL1bSTxG5UmxDBeBvbPkV6Fi6//t40I6lv/wCV5hs7ERUPcfqudjtqSKmWlSso78QotXEKM7EKiMBTZMxFWWkcivNKtnO7yt6KqwuPbFR3eV0OkVWiPqN6BNCK0IIT2uVpKg4auyeCaKiI1ywJDwzn5o1Cke/uTablIw5EpcnsOgtwrKRHEeBRqdNvEecKQynOh8rp4Zxg94UjmWxiBbhAdCuOD5ohwo3CO4wu6ojRx8bodXyHXwC93+5K5GyniPJIvWzaFdTBFx5JG4Mi7HSOB/dOa7j56eqLk/jcUFtG0mAdTO9v6jzCveiPR9+KrZS2KbIL3ixjcxp/MYPcATwBjbKwNWrVbTbBzfm/CN7jG4D9t69W2dhmYekKTLAXJ0JJ+Zx527rAaBTZ87gqXLNUSRi8XSw9BzjFOjSaY4NaLBrRvNwAN5I4rwzpLt9+Mrmo+co7NNhM5GTZvNx1J3nlAFt086ZHFvFKmfgUzbd1r/znkLhvIk77Zamwz9n0+9eao6Xp/DWuXLI8s9T0rgkbO2a6tVbSY3M9xgAX8+QXu3RXom3BUBSsXntVX/mdEgA8tI/dR/Zb0F93pCvVE1qgkf8AbYdB37z/ALLaOpS6IkOncPEG33K9m1ZEvb9wYtRfyUtWkRA3X7xbzUSoIGkzbnyn6K7xVAgwBYTuHOTbms1tzadLCYd9aqTlpiQ3QucfkYOZJHqdAVzZwalp7lcJWrMp7Q+k/udEMpmK9Zpyga02aGoeB1A5jkvR/Z3TDNl4QTJ6hjj3uGZ0+JK+Xds7XqYvEPrVTL6h0vDRo1jZ/CBAC+ptnvbhsPSY6exSpiLD8I4Ls48X9PBLu+SGU/Fb9jz72+VwThW6iKxjh8gWY6H4/Lgiwada4qb7Ysd1uJpCDDaRif6nfws/0frkYfLNsxMJWZa8X3G4/LOvgf0pxGYNVDgq3bHerLpBUkBUVA9oJ+CP9ugMsvOe2vxrfcmC5mlxXneDrRVd4q3oYqn7u0F98mknVZvDVu2fFc/FjrUVSlwTalRR6j7pKj0J7lVGIpsN1qye1GxVd3rQvq5RJWbx1fO8kKrAqZNmewAFPaU0J7QqiYeHJ4Q8ie1qwJEimVKw+qh054KwwzS25BCTMfjVsntdy+h+iIKg4+aA188/VODhy8/0KkaLkw8pDKaBG5cShoM6fv7K5Nzd65ePWOp/M3nrz70dwuuXJcuQ4ms9m4+PV5UxHKXiYVx7QnkYGrBIsBa1nPpgjuIJEcyuXKCf+RH6r8Bf6v7/ALHjX36rSdAGA47DyAfiHXkwket0q5dvL6WcuHqPpOlr4fqitaM5MXgXXLlsOF9fwJl3K/bFhZeIe2yoYw4kwTWJE2JHVgEjiA435lcuUH/sX1f7Fa/x3/O55dh/nb3j6r6T23UOalc/Kzf/AEpFy6XUcInwdzyrp68nFCST2Br3lQdlf3filXKfJ6EUQ9QDbmgVHS1XLk3D6BWX1mlZ/cBRMN85XLlMv9ij2C1CglcuTEAyFtU/DVEEi5V4vSSZfUPaiNXLk1i0PCI1KuQsNE/ChTAuXKWfJbj4CxZKRK5clDiLVMPgW7rKQTZcuRvhGLkSVy5cgGH/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8" name="AutoShape 6" descr="Image result for cat in bin video"/>
          <p:cNvSpPr>
            <a:spLocks noChangeAspect="1" noChangeArrowheads="1"/>
          </p:cNvSpPr>
          <p:nvPr/>
        </p:nvSpPr>
        <p:spPr bwMode="auto">
          <a:xfrm>
            <a:off x="765175" y="4651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a:ln>
                <a:noFill/>
              </a:ln>
              <a:solidFill>
                <a:srgbClr val="003E72"/>
              </a:solidFill>
              <a:effectLst/>
              <a:uLnTx/>
              <a:uFillTx/>
              <a:latin typeface="Arial" charset="0"/>
              <a:ea typeface="+mn-ea"/>
              <a:cs typeface="+mn-cs"/>
            </a:endParaRPr>
          </a:p>
        </p:txBody>
      </p:sp>
      <p:sp>
        <p:nvSpPr>
          <p:cNvPr id="5" name="Rectangle 4"/>
          <p:cNvSpPr/>
          <p:nvPr/>
        </p:nvSpPr>
        <p:spPr>
          <a:xfrm>
            <a:off x="1331640" y="5373216"/>
            <a:ext cx="5598368" cy="369332"/>
          </a:xfrm>
          <a:prstGeom prst="rect">
            <a:avLst/>
          </a:prstGeom>
        </p:spPr>
        <p:txBody>
          <a:bodyPr wrap="square">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a:ln>
                  <a:noFill/>
                </a:ln>
                <a:solidFill>
                  <a:srgbClr val="003E72"/>
                </a:solidFill>
                <a:effectLst/>
                <a:uLnTx/>
                <a:uFillTx/>
                <a:latin typeface="Arial" charset="0"/>
                <a:ea typeface="+mn-ea"/>
                <a:cs typeface="+mn-cs"/>
                <a:hlinkClick r:id="rId3"/>
              </a:rPr>
              <a:t>https://www.admin.cam.ac.uk/offices/purchasing/</a:t>
            </a: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pic>
        <p:nvPicPr>
          <p:cNvPr id="7" name="Picture 6"/>
          <p:cNvPicPr>
            <a:picLocks noChangeAspect="1"/>
          </p:cNvPicPr>
          <p:nvPr/>
        </p:nvPicPr>
        <p:blipFill>
          <a:blip r:embed="rId4"/>
          <a:stretch>
            <a:fillRect/>
          </a:stretch>
        </p:blipFill>
        <p:spPr>
          <a:xfrm>
            <a:off x="464837" y="1484784"/>
            <a:ext cx="8079416" cy="3805522"/>
          </a:xfrm>
          <a:prstGeom prst="rect">
            <a:avLst/>
          </a:prstGeom>
        </p:spPr>
      </p:pic>
    </p:spTree>
    <p:extLst>
      <p:ext uri="{BB962C8B-B14F-4D97-AF65-F5344CB8AC3E}">
        <p14:creationId xmlns:p14="http://schemas.microsoft.com/office/powerpoint/2010/main" val="311725990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idx="4294967295"/>
          </p:nvPr>
        </p:nvSpPr>
        <p:spPr>
          <a:xfrm>
            <a:off x="179388" y="231775"/>
            <a:ext cx="8964612" cy="647700"/>
          </a:xfrm>
          <a:prstGeom prst="rect">
            <a:avLst/>
          </a:prstGeom>
        </p:spPr>
        <p:txBody>
          <a:bodyPr>
            <a:noAutofit/>
          </a:bodyPr>
          <a:lstStyle/>
          <a:p>
            <a:pPr algn="ctr"/>
            <a:r>
              <a:rPr lang="en-GB" sz="4000" dirty="0" smtClean="0">
                <a:ln w="3175" cmpd="sng">
                  <a:solidFill>
                    <a:schemeClr val="bg1"/>
                  </a:solidFill>
                </a:ln>
                <a:solidFill>
                  <a:schemeClr val="bg1"/>
                </a:solidFill>
                <a:latin typeface="+mn-lt"/>
              </a:rPr>
              <a:t>2020 HALF-YEAR END</a:t>
            </a:r>
          </a:p>
        </p:txBody>
      </p:sp>
      <p:graphicFrame>
        <p:nvGraphicFramePr>
          <p:cNvPr id="3" name="Content Placeholder 2"/>
          <p:cNvGraphicFramePr>
            <a:graphicFrameLocks noGrp="1"/>
          </p:cNvGraphicFramePr>
          <p:nvPr>
            <p:ph idx="1"/>
            <p:extLst/>
          </p:nvPr>
        </p:nvGraphicFramePr>
        <p:xfrm>
          <a:off x="362941" y="1340768"/>
          <a:ext cx="8374064" cy="1595865"/>
        </p:xfrm>
        <a:graphic>
          <a:graphicData uri="http://schemas.openxmlformats.org/drawingml/2006/table">
            <a:tbl>
              <a:tblPr firstRow="1" bandRow="1">
                <a:tableStyleId>{5C22544A-7EE6-4342-B048-85BDC9FD1C3A}</a:tableStyleId>
              </a:tblPr>
              <a:tblGrid>
                <a:gridCol w="2093516">
                  <a:extLst>
                    <a:ext uri="{9D8B030D-6E8A-4147-A177-3AD203B41FA5}">
                      <a16:colId xmlns:a16="http://schemas.microsoft.com/office/drawing/2014/main" val="3866899271"/>
                    </a:ext>
                  </a:extLst>
                </a:gridCol>
                <a:gridCol w="2093516">
                  <a:extLst>
                    <a:ext uri="{9D8B030D-6E8A-4147-A177-3AD203B41FA5}">
                      <a16:colId xmlns:a16="http://schemas.microsoft.com/office/drawing/2014/main" val="3599198734"/>
                    </a:ext>
                  </a:extLst>
                </a:gridCol>
                <a:gridCol w="2093516">
                  <a:extLst>
                    <a:ext uri="{9D8B030D-6E8A-4147-A177-3AD203B41FA5}">
                      <a16:colId xmlns:a16="http://schemas.microsoft.com/office/drawing/2014/main" val="4010088553"/>
                    </a:ext>
                  </a:extLst>
                </a:gridCol>
                <a:gridCol w="2093516">
                  <a:extLst>
                    <a:ext uri="{9D8B030D-6E8A-4147-A177-3AD203B41FA5}">
                      <a16:colId xmlns:a16="http://schemas.microsoft.com/office/drawing/2014/main" val="969052151"/>
                    </a:ext>
                  </a:extLst>
                </a:gridCol>
              </a:tblGrid>
              <a:tr h="1216392">
                <a:tc>
                  <a:txBody>
                    <a:bodyPr/>
                    <a:lstStyle/>
                    <a:p>
                      <a:endParaRPr lang="en-GB" dirty="0"/>
                    </a:p>
                  </a:txBody>
                  <a:tcPr/>
                </a:tc>
                <a:tc>
                  <a:txBody>
                    <a:bodyPr/>
                    <a:lstStyle/>
                    <a:p>
                      <a:pPr algn="ctr"/>
                      <a:r>
                        <a:rPr lang="en-GB" dirty="0" smtClean="0"/>
                        <a:t>WD3 (AP, AR, GMS, INV,</a:t>
                      </a:r>
                      <a:r>
                        <a:rPr lang="en-GB" baseline="0" dirty="0" smtClean="0"/>
                        <a:t> PO)</a:t>
                      </a:r>
                    </a:p>
                    <a:p>
                      <a:pPr algn="ctr"/>
                      <a:endParaRPr lang="en-GB" baseline="0" dirty="0" smtClean="0"/>
                    </a:p>
                    <a:p>
                      <a:pPr algn="ctr"/>
                      <a:r>
                        <a:rPr lang="en-GB" baseline="0" dirty="0" smtClean="0"/>
                        <a:t>Working day 3</a:t>
                      </a:r>
                      <a:endParaRPr lang="en-GB" dirty="0"/>
                    </a:p>
                  </a:txBody>
                  <a:tcPr/>
                </a:tc>
                <a:tc>
                  <a:txBody>
                    <a:bodyPr/>
                    <a:lstStyle/>
                    <a:p>
                      <a:pPr algn="ctr"/>
                      <a:r>
                        <a:rPr lang="en-GB" dirty="0" smtClean="0"/>
                        <a:t>WD4 (Deposits and</a:t>
                      </a:r>
                      <a:r>
                        <a:rPr lang="en-GB" baseline="0" dirty="0" smtClean="0"/>
                        <a:t> FA)</a:t>
                      </a:r>
                    </a:p>
                    <a:p>
                      <a:pPr algn="ctr"/>
                      <a:endParaRPr lang="en-GB" baseline="0" dirty="0" smtClean="0"/>
                    </a:p>
                    <a:p>
                      <a:pPr algn="ctr"/>
                      <a:endParaRPr lang="en-GB" baseline="0" dirty="0" smtClean="0"/>
                    </a:p>
                    <a:p>
                      <a:pPr marL="0" marR="0" lvl="0" indent="0" algn="ctr" defTabSz="914400" rtl="0" eaLnBrk="1" fontAlgn="auto" latinLnBrk="0" hangingPunct="1">
                        <a:lnSpc>
                          <a:spcPct val="100000"/>
                        </a:lnSpc>
                        <a:spcBef>
                          <a:spcPts val="0"/>
                        </a:spcBef>
                        <a:spcAft>
                          <a:spcPts val="0"/>
                        </a:spcAft>
                        <a:buClrTx/>
                        <a:buSzTx/>
                        <a:buFontTx/>
                        <a:buNone/>
                        <a:tabLst/>
                        <a:defRPr/>
                      </a:pPr>
                      <a:r>
                        <a:rPr lang="en-GB" baseline="0" dirty="0" smtClean="0"/>
                        <a:t>Working day 4</a:t>
                      </a:r>
                      <a:endParaRPr lang="en-GB" dirty="0" smtClean="0"/>
                    </a:p>
                  </a:txBody>
                  <a:tcPr/>
                </a:tc>
                <a:tc>
                  <a:txBody>
                    <a:bodyPr/>
                    <a:lstStyle/>
                    <a:p>
                      <a:pPr algn="ctr"/>
                      <a:r>
                        <a:rPr lang="en-GB" dirty="0" smtClean="0"/>
                        <a:t>WD5 (GL)</a:t>
                      </a:r>
                    </a:p>
                    <a:p>
                      <a:pPr algn="ctr"/>
                      <a:endParaRPr lang="en-GB" dirty="0" smtClean="0"/>
                    </a:p>
                    <a:p>
                      <a:pPr algn="ctr"/>
                      <a:endParaRPr lang="en-GB" dirty="0" smtClean="0"/>
                    </a:p>
                    <a:p>
                      <a:pPr marL="0" marR="0" lvl="0" indent="0" algn="ctr" defTabSz="914400" rtl="0" eaLnBrk="1" fontAlgn="auto" latinLnBrk="0" hangingPunct="1">
                        <a:lnSpc>
                          <a:spcPct val="100000"/>
                        </a:lnSpc>
                        <a:spcBef>
                          <a:spcPts val="0"/>
                        </a:spcBef>
                        <a:spcAft>
                          <a:spcPts val="0"/>
                        </a:spcAft>
                        <a:buClrTx/>
                        <a:buSzTx/>
                        <a:buFontTx/>
                        <a:buNone/>
                        <a:tabLst/>
                        <a:defRPr/>
                      </a:pPr>
                      <a:r>
                        <a:rPr lang="en-GB" baseline="0" dirty="0" smtClean="0"/>
                        <a:t>Working day 5</a:t>
                      </a:r>
                      <a:endParaRPr lang="en-GB" dirty="0" smtClean="0"/>
                    </a:p>
                  </a:txBody>
                  <a:tcPr/>
                </a:tc>
                <a:extLst>
                  <a:ext uri="{0D108BD9-81ED-4DB2-BD59-A6C34878D82A}">
                    <a16:rowId xmlns:a16="http://schemas.microsoft.com/office/drawing/2014/main" val="3883136366"/>
                  </a:ext>
                </a:extLst>
              </a:tr>
              <a:tr h="379473">
                <a:tc>
                  <a:txBody>
                    <a:bodyPr/>
                    <a:lstStyle/>
                    <a:p>
                      <a:r>
                        <a:rPr lang="en-GB" dirty="0" smtClean="0"/>
                        <a:t>Jan 2020</a:t>
                      </a:r>
                      <a:endParaRPr lang="en-GB" dirty="0"/>
                    </a:p>
                  </a:txBody>
                  <a:tcPr/>
                </a:tc>
                <a:tc>
                  <a:txBody>
                    <a:bodyPr/>
                    <a:lstStyle/>
                    <a:p>
                      <a:pPr algn="ctr"/>
                      <a:r>
                        <a:rPr lang="en-GB" dirty="0" smtClean="0"/>
                        <a:t>Mon 11 Feb 20</a:t>
                      </a:r>
                      <a:endParaRPr lang="en-GB" dirty="0"/>
                    </a:p>
                  </a:txBody>
                  <a:tcPr/>
                </a:tc>
                <a:tc>
                  <a:txBody>
                    <a:bodyPr/>
                    <a:lstStyle/>
                    <a:p>
                      <a:pPr algn="ctr"/>
                      <a:r>
                        <a:rPr lang="en-GB" dirty="0" smtClean="0"/>
                        <a:t>Tue 12 Feb 20</a:t>
                      </a:r>
                      <a:endParaRPr lang="en-GB" dirty="0"/>
                    </a:p>
                  </a:txBody>
                  <a:tcPr/>
                </a:tc>
                <a:tc>
                  <a:txBody>
                    <a:bodyPr/>
                    <a:lstStyle/>
                    <a:p>
                      <a:pPr algn="ctr"/>
                      <a:r>
                        <a:rPr lang="en-GB" dirty="0" smtClean="0"/>
                        <a:t>Wed 13 Feb 20</a:t>
                      </a:r>
                      <a:endParaRPr lang="en-GB" dirty="0"/>
                    </a:p>
                  </a:txBody>
                  <a:tcPr/>
                </a:tc>
                <a:extLst>
                  <a:ext uri="{0D108BD9-81ED-4DB2-BD59-A6C34878D82A}">
                    <a16:rowId xmlns:a16="http://schemas.microsoft.com/office/drawing/2014/main" val="1000809843"/>
                  </a:ext>
                </a:extLst>
              </a:tr>
            </a:tbl>
          </a:graphicData>
        </a:graphic>
      </p:graphicFrame>
      <p:sp>
        <p:nvSpPr>
          <p:cNvPr id="7" name="TextBox 6"/>
          <p:cNvSpPr txBox="1"/>
          <p:nvPr/>
        </p:nvSpPr>
        <p:spPr>
          <a:xfrm>
            <a:off x="474662" y="3140968"/>
            <a:ext cx="8273802" cy="369332"/>
          </a:xfrm>
          <a:prstGeom prst="rect">
            <a:avLst/>
          </a:prstGeom>
          <a:noFill/>
        </p:spPr>
        <p:txBody>
          <a:bodyPr wrap="square" rtlCol="0">
            <a:spAutoFit/>
          </a:bodyPr>
          <a:lstStyle/>
          <a:p>
            <a:pPr marL="285750" marR="0" lvl="0" indent="-28575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p:txBody>
      </p:sp>
      <p:sp>
        <p:nvSpPr>
          <p:cNvPr id="8" name="TextBox 7"/>
          <p:cNvSpPr txBox="1"/>
          <p:nvPr/>
        </p:nvSpPr>
        <p:spPr>
          <a:xfrm>
            <a:off x="413072" y="2959016"/>
            <a:ext cx="8273802" cy="3046988"/>
          </a:xfrm>
          <a:prstGeom prst="rect">
            <a:avLst/>
          </a:prstGeom>
          <a:noFill/>
        </p:spPr>
        <p:txBody>
          <a:bodyPr wrap="square" rtlCol="0">
            <a:spAutoFit/>
          </a:bodyPr>
          <a:lstStyle/>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2400" b="0" i="0" u="none" strike="noStrike" kern="1200" cap="none" spc="0" normalizeH="0" baseline="0" noProof="0" dirty="0" smtClean="0">
                <a:ln>
                  <a:noFill/>
                </a:ln>
                <a:solidFill>
                  <a:srgbClr val="003E72"/>
                </a:solidFill>
                <a:effectLst/>
                <a:uLnTx/>
                <a:uFillTx/>
                <a:latin typeface="Arial" charset="0"/>
                <a:ea typeface="+mn-ea"/>
                <a:cs typeface="+mn-cs"/>
              </a:rPr>
              <a:t>Review accounts</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2400" b="0" i="0" u="none" strike="noStrike" kern="1200" cap="none" spc="0" normalizeH="0" baseline="0" noProof="0" dirty="0" smtClean="0">
                <a:ln>
                  <a:noFill/>
                </a:ln>
                <a:solidFill>
                  <a:srgbClr val="003E72"/>
                </a:solidFill>
                <a:effectLst/>
                <a:uLnTx/>
                <a:uFillTx/>
                <a:latin typeface="Arial" charset="0"/>
                <a:ea typeface="+mn-ea"/>
                <a:cs typeface="+mn-cs"/>
              </a:rPr>
              <a:t>Reallocate expenditure to Research Grants, donations and Trust Funds</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2400" b="0" i="0" u="none" strike="noStrike" kern="1200" cap="none" spc="0" normalizeH="0" baseline="0" noProof="0" dirty="0" smtClean="0">
                <a:ln>
                  <a:noFill/>
                </a:ln>
                <a:solidFill>
                  <a:srgbClr val="003E72"/>
                </a:solidFill>
                <a:effectLst/>
                <a:uLnTx/>
                <a:uFillTx/>
                <a:latin typeface="Arial" charset="0"/>
                <a:ea typeface="+mn-ea"/>
                <a:cs typeface="+mn-cs"/>
              </a:rPr>
              <a:t>Raise any outstanding external </a:t>
            </a:r>
            <a:r>
              <a:rPr kumimoji="0" lang="en-GB" sz="2400" b="0" i="0" u="none" strike="noStrike" kern="1200" cap="none" spc="0" normalizeH="0" baseline="0" noProof="0" dirty="0">
                <a:ln>
                  <a:noFill/>
                </a:ln>
                <a:solidFill>
                  <a:srgbClr val="003E72"/>
                </a:solidFill>
                <a:effectLst/>
                <a:uLnTx/>
                <a:uFillTx/>
                <a:latin typeface="Arial" charset="0"/>
                <a:ea typeface="+mn-ea"/>
                <a:cs typeface="+mn-cs"/>
              </a:rPr>
              <a:t>t</a:t>
            </a:r>
            <a:r>
              <a:rPr kumimoji="0" lang="en-GB" sz="2400" b="0" i="0" u="none" strike="noStrike" kern="1200" cap="none" spc="0" normalizeH="0" baseline="0" noProof="0" dirty="0" smtClean="0">
                <a:ln>
                  <a:noFill/>
                </a:ln>
                <a:solidFill>
                  <a:srgbClr val="003E72"/>
                </a:solidFill>
                <a:effectLst/>
                <a:uLnTx/>
                <a:uFillTx/>
                <a:latin typeface="Arial" charset="0"/>
                <a:ea typeface="+mn-ea"/>
                <a:cs typeface="+mn-cs"/>
              </a:rPr>
              <a:t>rading invoices and recharges</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2400" b="0" i="0" u="none" strike="noStrike" kern="1200" cap="none" spc="0" normalizeH="0" baseline="0" noProof="0" dirty="0" smtClean="0">
                <a:ln>
                  <a:noFill/>
                </a:ln>
                <a:solidFill>
                  <a:srgbClr val="003E72"/>
                </a:solidFill>
                <a:effectLst/>
                <a:uLnTx/>
                <a:uFillTx/>
                <a:latin typeface="Arial" charset="0"/>
                <a:ea typeface="+mn-ea"/>
                <a:cs typeface="+mn-cs"/>
              </a:rPr>
              <a:t>Claim BACS receipts</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2400" b="0" i="0" u="none" strike="noStrike" kern="1200" cap="none" spc="0" normalizeH="0" baseline="0" noProof="0" dirty="0" smtClean="0">
                <a:ln>
                  <a:noFill/>
                </a:ln>
                <a:solidFill>
                  <a:srgbClr val="003E72"/>
                </a:solidFill>
                <a:effectLst/>
                <a:uLnTx/>
                <a:uFillTx/>
                <a:latin typeface="Arial" charset="0"/>
                <a:ea typeface="+mn-ea"/>
                <a:cs typeface="+mn-cs"/>
              </a:rPr>
              <a:t>Process all supplier invoices</a:t>
            </a:r>
          </a:p>
          <a:p>
            <a:pPr marL="342900" marR="0" lvl="0" indent="-342900" algn="l" defTabSz="914400" rtl="0" eaLnBrk="1" fontAlgn="base" latinLnBrk="0" hangingPunct="1">
              <a:lnSpc>
                <a:spcPct val="100000"/>
              </a:lnSpc>
              <a:spcBef>
                <a:spcPct val="0"/>
              </a:spcBef>
              <a:spcAft>
                <a:spcPct val="0"/>
              </a:spcAft>
              <a:buClrTx/>
              <a:buSzTx/>
              <a:buFont typeface="Arial" panose="020B0604020202020204" pitchFamily="34" charset="0"/>
              <a:buChar char="•"/>
              <a:tabLst/>
              <a:defRPr/>
            </a:pPr>
            <a:r>
              <a:rPr kumimoji="0" lang="en-GB" sz="2400" b="0" i="0" u="none" strike="noStrike" kern="1200" cap="none" spc="0" normalizeH="0" baseline="0" noProof="0" dirty="0" smtClean="0">
                <a:ln>
                  <a:noFill/>
                </a:ln>
                <a:solidFill>
                  <a:srgbClr val="003E72"/>
                </a:solidFill>
                <a:effectLst/>
                <a:uLnTx/>
                <a:uFillTx/>
                <a:latin typeface="Arial" charset="0"/>
                <a:ea typeface="+mn-ea"/>
                <a:cs typeface="+mn-cs"/>
              </a:rPr>
              <a:t>Clear suspense accounts</a:t>
            </a:r>
            <a:endParaRPr kumimoji="0" lang="en-GB" sz="2400" b="0" i="0" u="none" strike="noStrike" kern="1200" cap="none" spc="0" normalizeH="0" baseline="0" noProof="0" dirty="0">
              <a:ln>
                <a:noFill/>
              </a:ln>
              <a:solidFill>
                <a:srgbClr val="003E72"/>
              </a:solidFill>
              <a:effectLst/>
              <a:uLnTx/>
              <a:uFillTx/>
              <a:latin typeface="Arial" charset="0"/>
              <a:ea typeface="+mn-ea"/>
              <a:cs typeface="+mn-cs"/>
            </a:endParaRPr>
          </a:p>
        </p:txBody>
      </p:sp>
    </p:spTree>
    <p:extLst>
      <p:ext uri="{BB962C8B-B14F-4D97-AF65-F5344CB8AC3E}">
        <p14:creationId xmlns:p14="http://schemas.microsoft.com/office/powerpoint/2010/main" val="4264048458"/>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hishing</a:t>
            </a:r>
            <a:endParaRPr lang="en-GB" dirty="0"/>
          </a:p>
        </p:txBody>
      </p:sp>
      <p:pic>
        <p:nvPicPr>
          <p:cNvPr id="8194" name="Picture 2" descr="An illustration of a scrap of paper with a username and password field on it. But get this! It's on a fishing hook! Lol."/>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523206" y="1727200"/>
            <a:ext cx="6096000" cy="40290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46650801"/>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Fraudulent Purchase Orders</a:t>
            </a:r>
            <a:endParaRPr lang="en-GB" dirty="0"/>
          </a:p>
        </p:txBody>
      </p:sp>
      <p:pic>
        <p:nvPicPr>
          <p:cNvPr id="4" name="Content Placeholder 3"/>
          <p:cNvPicPr>
            <a:picLocks noGrp="1" noChangeAspect="1"/>
          </p:cNvPicPr>
          <p:nvPr>
            <p:ph idx="1"/>
          </p:nvPr>
        </p:nvPicPr>
        <p:blipFill>
          <a:blip r:embed="rId2"/>
          <a:stretch>
            <a:fillRect/>
          </a:stretch>
        </p:blipFill>
        <p:spPr>
          <a:xfrm>
            <a:off x="2771800" y="1052736"/>
            <a:ext cx="3472630" cy="5040560"/>
          </a:xfrm>
          <a:prstGeom prst="rect">
            <a:avLst/>
          </a:prstGeom>
        </p:spPr>
      </p:pic>
    </p:spTree>
    <p:extLst>
      <p:ext uri="{BB962C8B-B14F-4D97-AF65-F5344CB8AC3E}">
        <p14:creationId xmlns:p14="http://schemas.microsoft.com/office/powerpoint/2010/main" val="3036039140"/>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p:txBody>
          <a:bodyPr/>
          <a:lstStyle/>
          <a:p>
            <a:r>
              <a:rPr lang="en-GB" altLang="en-US" sz="3200" smtClean="0"/>
              <a:t>Questions?</a:t>
            </a:r>
          </a:p>
        </p:txBody>
      </p:sp>
      <p:pic>
        <p:nvPicPr>
          <p:cNvPr id="14339" name="Picture 6" descr="C:\Users\jmh224\AppData\Local\Microsoft\Windows\Temporary Internet Files\Content.IE5\U2TPMF8Q\MC900441498[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743200" y="1600200"/>
            <a:ext cx="3657600"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97060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967D561-4870-4F0A-9586-471AA6B5B9FE}" type="slidenum">
              <a:rPr kumimoji="0" lang="en-GB" altLang="en-US" sz="750" b="0" i="0" u="none" strike="noStrike" kern="1200" cap="none" spc="0" normalizeH="0" baseline="0" noProof="0" smtClean="0">
                <a:ln>
                  <a:noFill/>
                </a:ln>
                <a:solidFill>
                  <a:srgbClr val="FFFFFF"/>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5</a:t>
            </a:fld>
            <a:endParaRPr kumimoji="0" lang="en-GB" altLang="en-US" sz="750" b="0" i="0" u="none" strike="noStrike" kern="1200" cap="none" spc="0" normalizeH="0" baseline="0" noProof="0">
              <a:ln>
                <a:noFill/>
              </a:ln>
              <a:solidFill>
                <a:srgbClr val="FFFFFF"/>
              </a:solidFill>
              <a:effectLst/>
              <a:uLnTx/>
              <a:uFillTx/>
              <a:latin typeface="Arial" charset="0"/>
              <a:ea typeface="+mn-ea"/>
              <a:cs typeface="+mn-cs"/>
            </a:endParaRPr>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231624" y="1708150"/>
            <a:ext cx="6631264" cy="4067175"/>
          </a:xfrm>
          <a:prstGeom prst="rect">
            <a:avLst/>
          </a:prstGeom>
        </p:spPr>
      </p:pic>
      <p:pic>
        <p:nvPicPr>
          <p:cNvPr id="5" name="Content Placeholder 4"/>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1197750" y="1708150"/>
            <a:ext cx="7233353" cy="4067175"/>
          </a:xfrm>
        </p:spPr>
      </p:pic>
    </p:spTree>
    <p:extLst>
      <p:ext uri="{BB962C8B-B14F-4D97-AF65-F5344CB8AC3E}">
        <p14:creationId xmlns:p14="http://schemas.microsoft.com/office/powerpoint/2010/main" val="4184004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Taster sessions …</a:t>
            </a:r>
            <a:endParaRPr lang="en-GB" dirty="0"/>
          </a:p>
        </p:txBody>
      </p:sp>
      <p:sp>
        <p:nvSpPr>
          <p:cNvPr id="3" name="Slide Number Placeholder 2"/>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161869A-595C-4EA7-9471-C11BD2D249B0}" type="slidenum">
              <a:rPr kumimoji="0" lang="en-GB" altLang="en-US" sz="750" b="0" i="0" u="none" strike="noStrike" kern="1200" cap="none" spc="0" normalizeH="0" baseline="0" noProof="0" smtClean="0">
                <a:ln>
                  <a:noFill/>
                </a:ln>
                <a:solidFill>
                  <a:srgbClr val="FFFFFF"/>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6</a:t>
            </a:fld>
            <a:endParaRPr kumimoji="0" lang="en-GB" altLang="en-US" sz="750" b="0" i="0" u="none" strike="noStrike" kern="1200" cap="none" spc="0" normalizeH="0" baseline="0" noProof="0" dirty="0">
              <a:ln>
                <a:noFill/>
              </a:ln>
              <a:solidFill>
                <a:srgbClr val="FFFFFF"/>
              </a:solidFill>
              <a:effectLst/>
              <a:uLnTx/>
              <a:uFillTx/>
              <a:latin typeface="Arial" charset="0"/>
              <a:ea typeface="+mn-ea"/>
              <a:cs typeface="+mn-cs"/>
            </a:endParaRPr>
          </a:p>
        </p:txBody>
      </p:sp>
      <p:pic>
        <p:nvPicPr>
          <p:cNvPr id="4" name="Picture 3"/>
          <p:cNvPicPr>
            <a:picLocks noChangeAspect="1"/>
          </p:cNvPicPr>
          <p:nvPr/>
        </p:nvPicPr>
        <p:blipFill rotWithShape="1">
          <a:blip r:embed="rId2"/>
          <a:srcRect l="4307" r="1"/>
          <a:stretch/>
        </p:blipFill>
        <p:spPr>
          <a:xfrm>
            <a:off x="-14747" y="1288947"/>
            <a:ext cx="9173496" cy="4949620"/>
          </a:xfrm>
          <a:prstGeom prst="rect">
            <a:avLst/>
          </a:prstGeom>
        </p:spPr>
      </p:pic>
    </p:spTree>
    <p:extLst>
      <p:ext uri="{BB962C8B-B14F-4D97-AF65-F5344CB8AC3E}">
        <p14:creationId xmlns:p14="http://schemas.microsoft.com/office/powerpoint/2010/main" val="2831864200"/>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Now I have got your attention …</a:t>
            </a:r>
            <a:endParaRPr lang="en-GB" dirty="0"/>
          </a:p>
        </p:txBody>
      </p:sp>
      <p:sp>
        <p:nvSpPr>
          <p:cNvPr id="3" name="Content Placeholder 2"/>
          <p:cNvSpPr>
            <a:spLocks noGrp="1"/>
          </p:cNvSpPr>
          <p:nvPr>
            <p:ph idx="1"/>
          </p:nvPr>
        </p:nvSpPr>
        <p:spPr>
          <a:xfrm>
            <a:off x="384176" y="1708152"/>
            <a:ext cx="1695347" cy="4067175"/>
          </a:xfrm>
        </p:spPr>
        <p:txBody>
          <a:bodyPr/>
          <a:lstStyle/>
          <a:p>
            <a:pPr marL="0" indent="0">
              <a:buNone/>
            </a:pPr>
            <a:r>
              <a:rPr lang="en-GB" sz="1800" dirty="0" smtClean="0"/>
              <a:t>Do you want to understand more about what we do centrally?</a:t>
            </a:r>
            <a:endParaRPr lang="en-GB" sz="1800"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161869A-595C-4EA7-9471-C11BD2D249B0}" type="slidenum">
              <a:rPr kumimoji="0" lang="en-GB" altLang="en-US" sz="750" b="0" i="0" u="none" strike="noStrike" kern="1200" cap="none" spc="0" normalizeH="0" baseline="0" noProof="0" smtClean="0">
                <a:ln>
                  <a:noFill/>
                </a:ln>
                <a:solidFill>
                  <a:srgbClr val="FFFFFF"/>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47</a:t>
            </a:fld>
            <a:endParaRPr kumimoji="0" lang="en-GB" altLang="en-US" sz="750" b="0" i="0" u="none" strike="noStrike" kern="1200" cap="none" spc="0" normalizeH="0" baseline="0" noProof="0" dirty="0">
              <a:ln>
                <a:noFill/>
              </a:ln>
              <a:solidFill>
                <a:srgbClr val="FFFFFF"/>
              </a:solidFill>
              <a:effectLst/>
              <a:uLnTx/>
              <a:uFillTx/>
              <a:latin typeface="Arial" charset="0"/>
              <a:ea typeface="+mn-ea"/>
              <a:cs typeface="+mn-cs"/>
            </a:endParaRPr>
          </a:p>
        </p:txBody>
      </p:sp>
      <p:sp>
        <p:nvSpPr>
          <p:cNvPr id="6" name="TextBox 5"/>
          <p:cNvSpPr txBox="1"/>
          <p:nvPr/>
        </p:nvSpPr>
        <p:spPr>
          <a:xfrm>
            <a:off x="5987845" y="4719484"/>
            <a:ext cx="3156155" cy="1200329"/>
          </a:xfrm>
          <a:prstGeom prst="rect">
            <a:avLst/>
          </a:prstGeom>
          <a:noFill/>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0" i="0" u="none" strike="noStrike" kern="1200" cap="none" spc="0" normalizeH="0" baseline="0" noProof="0" dirty="0" smtClean="0">
                <a:ln>
                  <a:noFill/>
                </a:ln>
                <a:solidFill>
                  <a:srgbClr val="003E72"/>
                </a:solidFill>
                <a:effectLst/>
                <a:uLnTx/>
                <a:uFillTx/>
                <a:latin typeface="Arial" charset="0"/>
                <a:ea typeface="+mn-ea"/>
                <a:cs typeface="+mn-cs"/>
              </a:rPr>
              <a:t>Go to UTBS and look under the theme</a:t>
            </a:r>
          </a:p>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GB" sz="1800" b="0" i="0" u="none" strike="noStrike" kern="1200" cap="none" spc="0" normalizeH="0" baseline="0" noProof="0" dirty="0">
              <a:ln>
                <a:noFill/>
              </a:ln>
              <a:solidFill>
                <a:srgbClr val="003E72"/>
              </a:solidFill>
              <a:effectLst/>
              <a:uLnTx/>
              <a:uFillTx/>
              <a:latin typeface="Arial" charset="0"/>
              <a:ea typeface="+mn-ea"/>
              <a:cs typeface="+mn-cs"/>
            </a:endParaRP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GB" sz="1800" b="1" i="0" u="none" strike="noStrike" kern="1200" cap="none" spc="0" normalizeH="0" baseline="0" noProof="0" dirty="0" smtClean="0">
                <a:ln>
                  <a:noFill/>
                </a:ln>
                <a:solidFill>
                  <a:srgbClr val="003E72"/>
                </a:solidFill>
                <a:effectLst/>
                <a:uLnTx/>
                <a:uFillTx/>
                <a:latin typeface="Arial" charset="0"/>
                <a:ea typeface="+mn-ea"/>
                <a:cs typeface="+mn-cs"/>
              </a:rPr>
              <a:t>Taster sessions for Depts.</a:t>
            </a:r>
            <a:endParaRPr kumimoji="0" lang="en-GB" sz="1800" b="1" i="0" u="none" strike="noStrike" kern="1200" cap="none" spc="0" normalizeH="0" baseline="0" noProof="0" dirty="0">
              <a:ln>
                <a:noFill/>
              </a:ln>
              <a:solidFill>
                <a:srgbClr val="003E72"/>
              </a:solidFill>
              <a:effectLst/>
              <a:uLnTx/>
              <a:uFillTx/>
              <a:latin typeface="Arial" charset="0"/>
              <a:ea typeface="+mn-ea"/>
              <a:cs typeface="+mn-cs"/>
            </a:endParaRPr>
          </a:p>
        </p:txBody>
      </p:sp>
      <p:pic>
        <p:nvPicPr>
          <p:cNvPr id="8" name="Picture 7"/>
          <p:cNvPicPr>
            <a:picLocks noChangeAspect="1"/>
          </p:cNvPicPr>
          <p:nvPr/>
        </p:nvPicPr>
        <p:blipFill>
          <a:blip r:embed="rId2"/>
          <a:stretch>
            <a:fillRect/>
          </a:stretch>
        </p:blipFill>
        <p:spPr>
          <a:xfrm>
            <a:off x="1750209" y="2893777"/>
            <a:ext cx="1582861" cy="1695922"/>
          </a:xfrm>
          <a:prstGeom prst="rect">
            <a:avLst/>
          </a:prstGeom>
        </p:spPr>
      </p:pic>
      <p:graphicFrame>
        <p:nvGraphicFramePr>
          <p:cNvPr id="5" name="Diagram 4"/>
          <p:cNvGraphicFramePr/>
          <p:nvPr>
            <p:extLst/>
          </p:nvPr>
        </p:nvGraphicFramePr>
        <p:xfrm>
          <a:off x="1130710" y="1313580"/>
          <a:ext cx="6882582" cy="485631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36161730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solidFill>
                  <a:schemeClr val="bg1"/>
                </a:solidFill>
              </a:rPr>
              <a:t>Known Unknowns</a:t>
            </a:r>
            <a:endParaRPr lang="en-GB" dirty="0">
              <a:solidFill>
                <a:schemeClr val="bg1"/>
              </a:solidFill>
            </a:endParaRPr>
          </a:p>
        </p:txBody>
      </p:sp>
      <p:sp>
        <p:nvSpPr>
          <p:cNvPr id="4" name="Content Placeholder 3"/>
          <p:cNvSpPr>
            <a:spLocks noGrp="1"/>
          </p:cNvSpPr>
          <p:nvPr>
            <p:ph idx="1"/>
          </p:nvPr>
        </p:nvSpPr>
        <p:spPr>
          <a:xfrm>
            <a:off x="179512" y="1412776"/>
            <a:ext cx="8374063" cy="3770263"/>
          </a:xfrm>
          <a:prstGeom prst="rect">
            <a:avLst/>
          </a:prstGeom>
        </p:spPr>
        <p:txBody>
          <a:bodyPr wrap="square">
            <a:spAutoFit/>
          </a:bodyPr>
          <a:lstStyle/>
          <a:p>
            <a:pPr marL="0" indent="0">
              <a:buNone/>
            </a:pPr>
            <a:r>
              <a:rPr lang="en-GB" altLang="en-US" sz="2000" b="1" dirty="0" smtClean="0">
                <a:solidFill>
                  <a:srgbClr val="003D7D"/>
                </a:solidFill>
              </a:rPr>
              <a:t>Insured Perils - Insurers Definition</a:t>
            </a:r>
            <a:r>
              <a:rPr lang="en-GB" altLang="en-US" sz="2000" dirty="0" smtClean="0">
                <a:solidFill>
                  <a:srgbClr val="003D7D"/>
                </a:solidFill>
              </a:rPr>
              <a:t>:-</a:t>
            </a:r>
          </a:p>
          <a:p>
            <a:pPr marL="0" indent="0">
              <a:buNone/>
            </a:pPr>
            <a:r>
              <a:rPr lang="en-GB" altLang="en-US" sz="2000" dirty="0" smtClean="0">
                <a:solidFill>
                  <a:srgbClr val="003D7D"/>
                </a:solidFill>
              </a:rPr>
              <a:t>Fire</a:t>
            </a:r>
            <a:r>
              <a:rPr lang="en-GB" altLang="en-US" sz="2000" dirty="0">
                <a:solidFill>
                  <a:srgbClr val="003D7D"/>
                </a:solidFill>
              </a:rPr>
              <a:t>, Lightning, Explosion &amp; Aircraft, “Dry” Perils, “Wet” Perils</a:t>
            </a:r>
          </a:p>
          <a:p>
            <a:pPr marL="0" indent="0">
              <a:buNone/>
            </a:pPr>
            <a:r>
              <a:rPr lang="en-GB" altLang="en-US" sz="2000" b="1" dirty="0" smtClean="0">
                <a:solidFill>
                  <a:srgbClr val="003D7D"/>
                </a:solidFill>
              </a:rPr>
              <a:t>Universities Definition</a:t>
            </a:r>
            <a:r>
              <a:rPr lang="en-GB" altLang="en-US" sz="2000" dirty="0" smtClean="0">
                <a:solidFill>
                  <a:srgbClr val="003D7D"/>
                </a:solidFill>
              </a:rPr>
              <a:t>:-</a:t>
            </a:r>
          </a:p>
          <a:p>
            <a:pPr marL="0" indent="0">
              <a:buNone/>
            </a:pPr>
            <a:r>
              <a:rPr lang="en-GB" altLang="en-US" sz="2000" dirty="0" smtClean="0">
                <a:solidFill>
                  <a:srgbClr val="003D7D"/>
                </a:solidFill>
              </a:rPr>
              <a:t>Increased </a:t>
            </a:r>
            <a:r>
              <a:rPr lang="en-GB" altLang="en-US" sz="2000" dirty="0">
                <a:solidFill>
                  <a:srgbClr val="003D7D"/>
                </a:solidFill>
              </a:rPr>
              <a:t>threats to reputation, severe budgetary pressures, threats to research and research funding, rising operational costs, security concerns, duty of care requirements, student complaints, student fees, student retention, spurious claims, legislative requirements, internationalisation, academic risk, risk management, unlimited liability contracts, bed bugs, contract managements, spin off companies, claims defensibility, phase 1 clinical trials,  increased threats to reputation</a:t>
            </a:r>
            <a:endParaRPr lang="en-US" altLang="en-US" sz="2000" dirty="0">
              <a:solidFill>
                <a:srgbClr val="003D7D"/>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76256" y="5085184"/>
            <a:ext cx="2093843" cy="1570382"/>
          </a:xfrm>
          <a:prstGeom prst="rect">
            <a:avLst/>
          </a:prstGeom>
        </p:spPr>
      </p:pic>
      <p:sp>
        <p:nvSpPr>
          <p:cNvPr id="6" name="TextBox 5"/>
          <p:cNvSpPr txBox="1"/>
          <p:nvPr/>
        </p:nvSpPr>
        <p:spPr>
          <a:xfrm>
            <a:off x="2240993" y="5577987"/>
            <a:ext cx="4657044" cy="584775"/>
          </a:xfrm>
          <a:prstGeom prst="rect">
            <a:avLst/>
          </a:prstGeom>
          <a:noFill/>
        </p:spPr>
        <p:txBody>
          <a:bodyPr wrap="none" rtlCol="0">
            <a:spAutoFit/>
          </a:bodyPr>
          <a:lstStyle/>
          <a:p>
            <a:r>
              <a:rPr lang="en-GB" sz="1600" dirty="0" smtClean="0">
                <a:solidFill>
                  <a:srgbClr val="0073CF"/>
                </a:solidFill>
              </a:rPr>
              <a:t>Chemical Engineering Building –2016 new facility</a:t>
            </a:r>
          </a:p>
          <a:p>
            <a:r>
              <a:rPr lang="en-GB" sz="1600" dirty="0" smtClean="0">
                <a:solidFill>
                  <a:srgbClr val="0073CF"/>
                </a:solidFill>
              </a:rPr>
              <a:t>Burst pipes</a:t>
            </a:r>
            <a:endParaRPr lang="en-GB" sz="1600" dirty="0">
              <a:solidFill>
                <a:srgbClr val="0073CF"/>
              </a:solidFill>
            </a:endParaRPr>
          </a:p>
        </p:txBody>
      </p:sp>
    </p:spTree>
    <p:extLst>
      <p:ext uri="{BB962C8B-B14F-4D97-AF65-F5344CB8AC3E}">
        <p14:creationId xmlns:p14="http://schemas.microsoft.com/office/powerpoint/2010/main" val="152934110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sz="2000" dirty="0">
                <a:solidFill>
                  <a:schemeClr val="bg1"/>
                </a:solidFill>
              </a:rPr>
              <a:t>Unknown Unknowns</a:t>
            </a:r>
            <a:endParaRPr lang="en-GB" dirty="0">
              <a:solidFill>
                <a:schemeClr val="bg1"/>
              </a:solidFill>
            </a:endParaRPr>
          </a:p>
        </p:txBody>
      </p:sp>
      <p:sp>
        <p:nvSpPr>
          <p:cNvPr id="4" name="Titre 1"/>
          <p:cNvSpPr txBox="1">
            <a:spLocks noGrp="1"/>
          </p:cNvSpPr>
          <p:nvPr>
            <p:ph idx="1"/>
          </p:nvPr>
        </p:nvSpPr>
        <p:spPr bwMode="auto">
          <a:xfrm>
            <a:off x="179512" y="1340768"/>
            <a:ext cx="8374063" cy="4067175"/>
          </a:xfrm>
          <a:prstGeom prst="rect">
            <a:avLst/>
          </a:prstGeom>
          <a:solidFill>
            <a:schemeClr val="bg1"/>
          </a:solidFill>
          <a:ln w="9525">
            <a:noFill/>
            <a:miter lim="800000"/>
            <a:headEnd/>
            <a:tailEnd/>
          </a:ln>
        </p:spPr>
        <p:txBody>
          <a:bodyPr anchor="ctr"/>
          <a:lstStyle/>
          <a:p>
            <a:pPr marL="0" indent="0">
              <a:buNone/>
            </a:pPr>
            <a:r>
              <a:rPr lang="en-GB" altLang="en-US" sz="2800" dirty="0" smtClean="0"/>
              <a:t>“</a:t>
            </a:r>
            <a:r>
              <a:rPr lang="en-GB" altLang="en-US" sz="2800" dirty="0"/>
              <a:t>Universities are renowned for their tolerance of unusual characters, especially if they show originality and dedication to their research. I have often made the comment that not only are universities a 'cathedral' for worship of knowledge, they are also 'sheltered workshops' for the socially challenged.” </a:t>
            </a:r>
            <a:br>
              <a:rPr lang="en-GB" altLang="en-US" sz="2800" dirty="0"/>
            </a:br>
            <a:r>
              <a:rPr lang="en-GB" altLang="en-US" sz="2800" dirty="0"/>
              <a:t>― </a:t>
            </a:r>
            <a:r>
              <a:rPr lang="en-GB" altLang="en-US" sz="2800" dirty="0">
                <a:solidFill>
                  <a:srgbClr val="003D7D"/>
                </a:solidFill>
              </a:rPr>
              <a:t>Tony Attwood, </a:t>
            </a:r>
            <a:r>
              <a:rPr lang="en-GB" altLang="en-US" sz="2800" i="1" dirty="0">
                <a:solidFill>
                  <a:srgbClr val="003D7D"/>
                </a:solidFill>
              </a:rPr>
              <a:t>The Complete Guide to Asperger's Syndrome</a:t>
            </a:r>
            <a:endParaRPr lang="en-GB" altLang="en-US" sz="2800" dirty="0">
              <a:solidFill>
                <a:srgbClr val="003D7D"/>
              </a:solidFill>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76256" y="4941168"/>
            <a:ext cx="2151159" cy="1608888"/>
          </a:xfrm>
          <a:prstGeom prst="rect">
            <a:avLst/>
          </a:prstGeom>
        </p:spPr>
      </p:pic>
      <p:sp>
        <p:nvSpPr>
          <p:cNvPr id="6" name="Rectangle 5"/>
          <p:cNvSpPr/>
          <p:nvPr/>
        </p:nvSpPr>
        <p:spPr>
          <a:xfrm>
            <a:off x="1524001" y="5603220"/>
            <a:ext cx="6096000" cy="646331"/>
          </a:xfrm>
          <a:prstGeom prst="rect">
            <a:avLst/>
          </a:prstGeom>
        </p:spPr>
        <p:txBody>
          <a:bodyPr>
            <a:spAutoFit/>
          </a:bodyPr>
          <a:lstStyle/>
          <a:p>
            <a:r>
              <a:rPr lang="en-GB" dirty="0" smtClean="0">
                <a:solidFill>
                  <a:srgbClr val="0073CF"/>
                </a:solidFill>
              </a:rPr>
              <a:t>University of Manchester - Fire </a:t>
            </a:r>
            <a:r>
              <a:rPr lang="en-GB" dirty="0">
                <a:solidFill>
                  <a:srgbClr val="0073CF"/>
                </a:solidFill>
              </a:rPr>
              <a:t>at Christie Hospital </a:t>
            </a:r>
            <a:endParaRPr lang="en-GB" dirty="0" smtClean="0">
              <a:solidFill>
                <a:srgbClr val="0073CF"/>
              </a:solidFill>
            </a:endParaRPr>
          </a:p>
          <a:p>
            <a:r>
              <a:rPr lang="en-GB" dirty="0" smtClean="0">
                <a:solidFill>
                  <a:srgbClr val="0073CF"/>
                </a:solidFill>
              </a:rPr>
              <a:t>was </a:t>
            </a:r>
            <a:r>
              <a:rPr lang="en-GB" dirty="0">
                <a:solidFill>
                  <a:srgbClr val="0073CF"/>
                </a:solidFill>
              </a:rPr>
              <a:t>started by </a:t>
            </a:r>
            <a:r>
              <a:rPr lang="en-GB" dirty="0" smtClean="0">
                <a:solidFill>
                  <a:srgbClr val="0073CF"/>
                </a:solidFill>
              </a:rPr>
              <a:t>welding </a:t>
            </a:r>
            <a:r>
              <a:rPr lang="en-GB" dirty="0">
                <a:solidFill>
                  <a:srgbClr val="0073CF"/>
                </a:solidFill>
              </a:rPr>
              <a:t>works in the roof</a:t>
            </a:r>
          </a:p>
        </p:txBody>
      </p:sp>
    </p:spTree>
    <p:extLst>
      <p:ext uri="{BB962C8B-B14F-4D97-AF65-F5344CB8AC3E}">
        <p14:creationId xmlns:p14="http://schemas.microsoft.com/office/powerpoint/2010/main" val="265216788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Any questions?</a:t>
            </a:r>
            <a:endParaRPr lang="en-GB"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27584" y="1340769"/>
            <a:ext cx="7117492" cy="4824536"/>
          </a:xfrm>
          <a:prstGeom prst="rect">
            <a:avLst/>
          </a:prstGeom>
        </p:spPr>
      </p:pic>
    </p:spTree>
    <p:extLst>
      <p:ext uri="{BB962C8B-B14F-4D97-AF65-F5344CB8AC3E}">
        <p14:creationId xmlns:p14="http://schemas.microsoft.com/office/powerpoint/2010/main" val="297412914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384176" y="2016127"/>
            <a:ext cx="8374063" cy="1943131"/>
          </a:xfrm>
        </p:spPr>
        <p:txBody>
          <a:bodyPr/>
          <a:lstStyle/>
          <a:p>
            <a:r>
              <a:rPr lang="en-GB" sz="2400" dirty="0"/>
              <a:t>Finance </a:t>
            </a:r>
            <a:r>
              <a:rPr lang="en-GB" sz="2400" dirty="0" smtClean="0"/>
              <a:t>Transformation </a:t>
            </a:r>
            <a:r>
              <a:rPr lang="en-GB" sz="2400" dirty="0"/>
              <a:t>Programme (</a:t>
            </a:r>
            <a:r>
              <a:rPr lang="en-GB" sz="2400" dirty="0" smtClean="0"/>
              <a:t>FTP</a:t>
            </a:r>
            <a:r>
              <a:rPr lang="en-GB" sz="2400" dirty="0"/>
              <a:t>) </a:t>
            </a:r>
            <a:br>
              <a:rPr lang="en-GB" sz="2400" dirty="0"/>
            </a:br>
            <a:r>
              <a:rPr lang="en-GB" sz="2400" dirty="0" smtClean="0"/>
              <a:t/>
            </a:r>
            <a:br>
              <a:rPr lang="en-GB" sz="2400" dirty="0" smtClean="0"/>
            </a:br>
            <a:r>
              <a:rPr lang="en-GB" sz="2400" dirty="0" smtClean="0"/>
              <a:t>Discovery Phase Feedback Presentation to FUG</a:t>
            </a:r>
            <a:br>
              <a:rPr lang="en-GB" sz="2400" dirty="0" smtClean="0"/>
            </a:br>
            <a:r>
              <a:rPr lang="en-GB" sz="2400" dirty="0" smtClean="0"/>
              <a:t/>
            </a:r>
            <a:br>
              <a:rPr lang="en-GB" sz="2400" dirty="0" smtClean="0"/>
            </a:br>
            <a:r>
              <a:rPr lang="en-GB" sz="2400" dirty="0" smtClean="0"/>
              <a:t/>
            </a:r>
            <a:br>
              <a:rPr lang="en-GB" sz="2400" dirty="0" smtClean="0"/>
            </a:br>
            <a:r>
              <a:rPr lang="en-GB" sz="2400" dirty="0"/>
              <a:t/>
            </a:r>
            <a:br>
              <a:rPr lang="en-GB" sz="2400" dirty="0"/>
            </a:br>
            <a:r>
              <a:rPr lang="en-GB" sz="2400" dirty="0" smtClean="0"/>
              <a:t>John Galvin, interim Head of FTP</a:t>
            </a:r>
            <a:r>
              <a:rPr lang="en-GB" sz="2400" smtClean="0"/>
              <a:t/>
            </a:r>
            <a:br>
              <a:rPr lang="en-GB" sz="2400" smtClean="0"/>
            </a:br>
            <a:r>
              <a:rPr lang="en-GB" sz="2000" smtClean="0"/>
              <a:t>24</a:t>
            </a:r>
            <a:r>
              <a:rPr lang="en-GB" sz="2000" baseline="30000" smtClean="0"/>
              <a:t>th</a:t>
            </a:r>
            <a:r>
              <a:rPr lang="en-GB" sz="2000" smtClean="0"/>
              <a:t> </a:t>
            </a:r>
            <a:r>
              <a:rPr lang="en-GB" sz="2000" dirty="0" smtClean="0"/>
              <a:t>January 2020</a:t>
            </a:r>
            <a:r>
              <a:rPr lang="en-GB" sz="2400" dirty="0" smtClean="0"/>
              <a:t/>
            </a:r>
            <a:br>
              <a:rPr lang="en-GB" sz="2400" dirty="0" smtClean="0"/>
            </a:br>
            <a:r>
              <a:rPr lang="en-GB" sz="2400" dirty="0"/>
              <a:t/>
            </a:r>
            <a:br>
              <a:rPr lang="en-GB" sz="2400" dirty="0"/>
            </a:br>
            <a:endParaRPr lang="en-GB" sz="2400" dirty="0"/>
          </a:p>
        </p:txBody>
      </p:sp>
      <p:sp>
        <p:nvSpPr>
          <p:cNvPr id="6" name="Slide Number Placeholder 5"/>
          <p:cNvSpPr>
            <a:spLocks noGrp="1"/>
          </p:cNvSpPr>
          <p:nvPr>
            <p:ph type="sldNum" sz="quarter" idx="10"/>
          </p:nvPr>
        </p:nvSpPr>
        <p:spPr/>
        <p:txBody>
          <a:bodyPr/>
          <a:lstStyle/>
          <a:p>
            <a:pPr>
              <a:defRPr/>
            </a:pPr>
            <a:fld id="{08BCD919-132B-49DF-A2C6-FA922BC216FD}" type="slidenum">
              <a:rPr lang="en-GB" altLang="en-US" smtClean="0">
                <a:solidFill>
                  <a:srgbClr val="003E72"/>
                </a:solidFill>
              </a:rPr>
              <a:pPr>
                <a:defRPr/>
              </a:pPr>
              <a:t>8</a:t>
            </a:fld>
            <a:endParaRPr lang="en-GB" altLang="en-US">
              <a:solidFill>
                <a:srgbClr val="003E72"/>
              </a:solidFill>
            </a:endParaRPr>
          </a:p>
        </p:txBody>
      </p:sp>
    </p:spTree>
    <p:extLst>
      <p:ext uri="{BB962C8B-B14F-4D97-AF65-F5344CB8AC3E}">
        <p14:creationId xmlns:p14="http://schemas.microsoft.com/office/powerpoint/2010/main" val="23134981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9937" y="2889584"/>
            <a:ext cx="8374063" cy="576263"/>
          </a:xfrm>
        </p:spPr>
        <p:txBody>
          <a:bodyPr/>
          <a:lstStyle/>
          <a:p>
            <a:r>
              <a:rPr lang="en-GB"/>
              <a:t>How have we engaged with the University?</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8BCD919-132B-49DF-A2C6-FA922BC216FD}" type="slidenum">
              <a:rPr kumimoji="0" lang="en-GB" altLang="en-US" sz="750" b="0" i="0" u="none" strike="noStrike" kern="1200" cap="none" spc="0" normalizeH="0" baseline="0" noProof="0" smtClean="0">
                <a:ln>
                  <a:noFill/>
                </a:ln>
                <a:solidFill>
                  <a:srgbClr val="003E72"/>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GB" altLang="en-US" sz="750" b="0" i="0" u="none" strike="noStrike" kern="1200" cap="none" spc="0" normalizeH="0" baseline="0" noProof="0">
              <a:ln>
                <a:noFill/>
              </a:ln>
              <a:solidFill>
                <a:srgbClr val="003E72"/>
              </a:solidFill>
              <a:effectLst/>
              <a:uLnTx/>
              <a:uFillTx/>
              <a:latin typeface="Arial"/>
              <a:ea typeface="+mn-ea"/>
              <a:cs typeface="+mn-cs"/>
            </a:endParaRPr>
          </a:p>
        </p:txBody>
      </p:sp>
    </p:spTree>
    <p:extLst>
      <p:ext uri="{BB962C8B-B14F-4D97-AF65-F5344CB8AC3E}">
        <p14:creationId xmlns:p14="http://schemas.microsoft.com/office/powerpoint/2010/main" val="288220572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T6Wv4DGcSUGhBUt0Vqzd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2B1LmW0Vzf2NZfJKU8nCg"/>
</p:tagLst>
</file>

<file path=ppt/tags/tag4.xml><?xml version="1.0" encoding="utf-8"?>
<p:tagLst xmlns:a="http://schemas.openxmlformats.org/drawingml/2006/main" xmlns:r="http://schemas.openxmlformats.org/officeDocument/2006/relationships" xmlns:p="http://schemas.openxmlformats.org/presentationml/2006/main">
  <p:tag name="ORIGINALMAINDECK" val="C:\ProgramData\PA Apps\SPARK\PowerPoint\Decks\PA Report (UK English - A4) [A4-ENUK].pptx"/>
  <p:tag name="ORIGINALDECKSLIDEID" val="\Subdecks\A4\05 - PA Report (UK English - A4) - Diagrams [A4].pptx?487"/>
  <p:tag name="UPDATED" val="02 Jan 18 at 12:00"/>
  <p:tag name="KEYWORDS" val="Diagrams | Venn | Circle"/>
  <p:tag name="CATEGORY" val="Diagrams - General"/>
  <p:tag name="TITLE" val="Circular Diagram with External Text"/>
  <p:tag name="VERIFYSHAPECOUNT" val="36"/>
  <p:tag name="VERIFYSHAPECONTENT1" val="Text Placeholder 3|Circular &#10;Diagrams"/>
  <p:tag name="VERIFYSHAPEPOSITION1" val="46.20961|47.1874|90.42519|685.7008"/>
  <p:tag name="VERIFYSHAPEPOSITION2" val="204.9214|273.5043|233.8101|232.474"/>
  <p:tag name="VERIFYSHAPEPOSITION3" val="326.8691|241.7756|78.92047|78.92047"/>
  <p:tag name="VERIFYSHAPEPOSITION4" val="237.934|241.7756|78.92047|78.92047"/>
  <p:tag name="VERIFYSHAPEPOSITION5" val="326.8691|458.3092|78.92047|78.92047"/>
  <p:tag name="VERIFYSHAPEPOSITION6" val="237.934|458.3092|78.92047|78.92047"/>
  <p:tag name="VERIFYSHAPEPOSITION7" val="170.041|395.4144|78.92047|78.92047"/>
  <p:tag name="VERIFYSHAPEPOSITION8" val="170.041|304.6618|78.92047|78.92047"/>
  <p:tag name="VERIFYSHAPEPOSITION9" val="392.3035|395.4144|78.92047|78.92047"/>
  <p:tag name="VERIFYSHAPEPOSITION10" val="392.3035|304.6618|78.92047|78.92047"/>
  <p:tag name="VERIFYSHAPECONTENT11" val="Oval 57|Heading"/>
  <p:tag name="VERIFYSHAPEPOSITION11" val="244.5108|248.3524|65.76701|65.76701"/>
  <p:tag name="VERIFYSHAPECONTENT12" val="Oval 58|Heading"/>
  <p:tag name="VERIFYSHAPEPOSITION12" val="244.5108|464.886|65.76701|65.76701"/>
  <p:tag name="VERIFYSHAPECONTENT13" val="Oval 59|Heading"/>
  <p:tag name="VERIFYSHAPEPOSITION13" val="333.4459|248.3524|65.76701|65.76701"/>
  <p:tag name="VERIFYSHAPECONTENT14" val="Oval 60|Heading"/>
  <p:tag name="VERIFYSHAPEPOSITION14" val="333.4459|464.886|65.76701|65.76701"/>
  <p:tag name="VERIFYSHAPECONTENT15" val="Oval 61|Heading"/>
  <p:tag name="VERIFYSHAPEPOSITION15" val="398.8802|311.2386|65.76701|65.76701"/>
  <p:tag name="VERIFYSHAPECONTENT16" val="Oval 62|Heading"/>
  <p:tag name="VERIFYSHAPEPOSITION16" val="398.8802|401.9912|65.76701|65.76701"/>
  <p:tag name="VERIFYSHAPECONTENT17" val="Oval 63|Heading"/>
  <p:tag name="VERIFYSHAPEPOSITION17" val="176.6178|311.2386|65.76701|65.76701"/>
  <p:tag name="VERIFYSHAPECONTENT18" val="Oval 64|Heading"/>
  <p:tag name="VERIFYSHAPEPOSITION18" val="176.6178|401.9912|65.76701|65.76701"/>
  <p:tag name="VERIFYSHAPEPOSITION19" val="258.8638|327.7742|125.2731|125.2731"/>
  <p:tag name="VERIFYSHAPECONTENT20" val="Oval 69|TEXT"/>
  <p:tag name="VERIFYSHAPEPOSITION20" val="264.432|333.3424|114.1365|114.1365"/>
  <p:tag name="VERIFYSHAPECONTENT21" val="Rectangle 10|Heading&#10;Insert copy here"/>
  <p:tag name="VERIFYSHAPEPOSITION21" val="165.2724|543.8622|28.67732|189.1378"/>
  <p:tag name="VERIFYSHAPEPOSITION22" val="226.2864|519.629|15.51024|213.371"/>
  <p:tag name="VERIFYSHAPECONTENT23" val="Rectangle 10|Heading&#10;Insert copy here"/>
  <p:tag name="VERIFYSHAPEPOSITION23" val="232.672|543.514|28.67732|189.486"/>
  <p:tag name="VERIFYSHAPEPOSITION24" val="226.2864|47|15.51024|213.371"/>
  <p:tag name="VERIFYSHAPECONTENT25" val="Rectangle 10|Heading&#10;Insert copy here"/>
  <p:tag name="VERIFYSHAPEPOSITION25" val="232.672|47.93787|28.67732|186.6847"/>
  <p:tag name="VERIFYSHAPEPOSITION26" val="158.8868|47.93787|15.51024|274.5743"/>
  <p:tag name="VERIFYSHAPECONTENT27" val="Rectangle 10|Heading&#10;Insert copy here"/>
  <p:tag name="VERIFYSHAPEPOSITION27" val="165.2724|47.93787|28.67732|194.5827"/>
  <p:tag name="VERIFYSHAPEPOSITION28" val="403.3037|47|15.51024|213.371"/>
  <p:tag name="VERIFYSHAPECONTENT29" val="Rectangle 10|Heading&#10;Insert copy here"/>
  <p:tag name="VERIFYSHAPEPOSITION29" val="381.0715|47.93787|28.67732|186.6847"/>
  <p:tag name="VERIFYSHAPEPOSITION30" val="469.6172|47|15.51024|275.5122"/>
  <p:tag name="VERIFYSHAPECONTENT31" val="Rectangle 10|Heading&#10;Insert copy here"/>
  <p:tag name="VERIFYSHAPEPOSITION31" val="447.3729|47.93787|28.67732|186.6847"/>
  <p:tag name="VERIFYSHAPEPOSITION32" val="403.3037|519.629|15.51024|213.371"/>
  <p:tag name="VERIFYSHAPECONTENT33" val="Rectangle 10|Heading&#10;Insert copy here"/>
  <p:tag name="VERIFYSHAPEPOSITION33" val="381.0715|546.3152|28.67732|186.6847"/>
  <p:tag name="VERIFYSHAPEPOSITION34" val="158.8868|461.3993|15.51024|272.2393"/>
  <p:tag name="VERIFYSHAPEPOSITION35" val="469.6172|461.3993|15.51024|272.2393"/>
  <p:tag name="VERIFYSHAPECONTENT36" val="Rectangle 10|Heading&#10;Insert copy here"/>
  <p:tag name="VERIFYSHAPEPOSITION36" val="447.3729|546.3152|28.67732|186.6847"/>
</p:tagLst>
</file>

<file path=ppt/tags/tag5.xml><?xml version="1.0" encoding="utf-8"?>
<p:tagLst xmlns:a="http://schemas.openxmlformats.org/drawingml/2006/main" xmlns:r="http://schemas.openxmlformats.org/officeDocument/2006/relationships" xmlns:p="http://schemas.openxmlformats.org/presentationml/2006/main">
  <p:tag name="ORIGINALMAINDECK" val="C:\ProgramData\PA Apps\SPARK\PowerPoint\Decks\PA Report (UK English - A4) [A4-ENUK].pptx"/>
  <p:tag name="ORIGINALDECKSLIDEID" val="\Subdecks\A4\05 - PA Report (UK English - A4) - Diagrams [A4].pptx?487"/>
  <p:tag name="UPDATED" val="02 Jan 18 at 12:00"/>
  <p:tag name="KEYWORDS" val="Diagrams | Venn | Circle"/>
  <p:tag name="CATEGORY" val="Diagrams - General"/>
  <p:tag name="TITLE" val="Circular Diagram with External Text"/>
  <p:tag name="VERIFYSHAPECOUNT" val="36"/>
  <p:tag name="VERIFYSHAPECONTENT1" val="Text Placeholder 3|Circular &#10;Diagrams"/>
  <p:tag name="VERIFYSHAPEPOSITION1" val="46.20961|47.1874|90.42519|685.7008"/>
  <p:tag name="VERIFYSHAPEPOSITION2" val="204.9214|273.5043|233.8101|232.474"/>
  <p:tag name="VERIFYSHAPEPOSITION3" val="326.8691|241.7756|78.92047|78.92047"/>
  <p:tag name="VERIFYSHAPEPOSITION4" val="237.934|241.7756|78.92047|78.92047"/>
  <p:tag name="VERIFYSHAPEPOSITION5" val="326.8691|458.3092|78.92047|78.92047"/>
  <p:tag name="VERIFYSHAPEPOSITION6" val="237.934|458.3092|78.92047|78.92047"/>
  <p:tag name="VERIFYSHAPEPOSITION7" val="170.041|395.4144|78.92047|78.92047"/>
  <p:tag name="VERIFYSHAPEPOSITION8" val="170.041|304.6618|78.92047|78.92047"/>
  <p:tag name="VERIFYSHAPEPOSITION9" val="392.3035|395.4144|78.92047|78.92047"/>
  <p:tag name="VERIFYSHAPEPOSITION10" val="392.3035|304.6618|78.92047|78.92047"/>
  <p:tag name="VERIFYSHAPECONTENT11" val="Oval 57|Heading"/>
  <p:tag name="VERIFYSHAPEPOSITION11" val="244.5108|248.3524|65.76701|65.76701"/>
  <p:tag name="VERIFYSHAPECONTENT12" val="Oval 58|Heading"/>
  <p:tag name="VERIFYSHAPEPOSITION12" val="244.5108|464.886|65.76701|65.76701"/>
  <p:tag name="VERIFYSHAPECONTENT13" val="Oval 59|Heading"/>
  <p:tag name="VERIFYSHAPEPOSITION13" val="333.4459|248.3524|65.76701|65.76701"/>
  <p:tag name="VERIFYSHAPECONTENT14" val="Oval 60|Heading"/>
  <p:tag name="VERIFYSHAPEPOSITION14" val="333.4459|464.886|65.76701|65.76701"/>
  <p:tag name="VERIFYSHAPECONTENT15" val="Oval 61|Heading"/>
  <p:tag name="VERIFYSHAPEPOSITION15" val="398.8802|311.2386|65.76701|65.76701"/>
  <p:tag name="VERIFYSHAPECONTENT16" val="Oval 62|Heading"/>
  <p:tag name="VERIFYSHAPEPOSITION16" val="398.8802|401.9912|65.76701|65.76701"/>
  <p:tag name="VERIFYSHAPECONTENT17" val="Oval 63|Heading"/>
  <p:tag name="VERIFYSHAPEPOSITION17" val="176.6178|311.2386|65.76701|65.76701"/>
  <p:tag name="VERIFYSHAPECONTENT18" val="Oval 64|Heading"/>
  <p:tag name="VERIFYSHAPEPOSITION18" val="176.6178|401.9912|65.76701|65.76701"/>
  <p:tag name="VERIFYSHAPEPOSITION19" val="258.8638|327.7742|125.2731|125.2731"/>
  <p:tag name="VERIFYSHAPECONTENT20" val="Oval 69|TEXT"/>
  <p:tag name="VERIFYSHAPEPOSITION20" val="264.432|333.3424|114.1365|114.1365"/>
  <p:tag name="VERIFYSHAPECONTENT21" val="Rectangle 10|Heading&#10;Insert copy here"/>
  <p:tag name="VERIFYSHAPEPOSITION21" val="165.2724|543.8622|28.67732|189.1378"/>
  <p:tag name="VERIFYSHAPEPOSITION22" val="226.2864|519.629|15.51024|213.371"/>
  <p:tag name="VERIFYSHAPECONTENT23" val="Rectangle 10|Heading&#10;Insert copy here"/>
  <p:tag name="VERIFYSHAPEPOSITION23" val="232.672|543.514|28.67732|189.486"/>
  <p:tag name="VERIFYSHAPEPOSITION24" val="226.2864|47|15.51024|213.371"/>
  <p:tag name="VERIFYSHAPECONTENT25" val="Rectangle 10|Heading&#10;Insert copy here"/>
  <p:tag name="VERIFYSHAPEPOSITION25" val="232.672|47.93787|28.67732|186.6847"/>
  <p:tag name="VERIFYSHAPEPOSITION26" val="158.8868|47.93787|15.51024|274.5743"/>
  <p:tag name="VERIFYSHAPECONTENT27" val="Rectangle 10|Heading&#10;Insert copy here"/>
  <p:tag name="VERIFYSHAPEPOSITION27" val="165.2724|47.93787|28.67732|194.5827"/>
  <p:tag name="VERIFYSHAPEPOSITION28" val="403.3037|47|15.51024|213.371"/>
  <p:tag name="VERIFYSHAPECONTENT29" val="Rectangle 10|Heading&#10;Insert copy here"/>
  <p:tag name="VERIFYSHAPEPOSITION29" val="381.0715|47.93787|28.67732|186.6847"/>
  <p:tag name="VERIFYSHAPEPOSITION30" val="469.6172|47|15.51024|275.5122"/>
  <p:tag name="VERIFYSHAPECONTENT31" val="Rectangle 10|Heading&#10;Insert copy here"/>
  <p:tag name="VERIFYSHAPEPOSITION31" val="447.3729|47.93787|28.67732|186.6847"/>
  <p:tag name="VERIFYSHAPEPOSITION32" val="403.3037|519.629|15.51024|213.371"/>
  <p:tag name="VERIFYSHAPECONTENT33" val="Rectangle 10|Heading&#10;Insert copy here"/>
  <p:tag name="VERIFYSHAPEPOSITION33" val="381.0715|546.3152|28.67732|186.6847"/>
  <p:tag name="VERIFYSHAPEPOSITION34" val="158.8868|461.3993|15.51024|272.2393"/>
  <p:tag name="VERIFYSHAPEPOSITION35" val="469.6172|461.3993|15.51024|272.2393"/>
  <p:tag name="VERIFYSHAPECONTENT36" val="Rectangle 10|Heading&#10;Insert copy here"/>
  <p:tag name="VERIFYSHAPEPOSITION36" val="447.3729|546.3152|28.67732|186.6847"/>
</p:tagLst>
</file>

<file path=ppt/tags/tag6.xml><?xml version="1.0" encoding="utf-8"?>
<p:tagLst xmlns:a="http://schemas.openxmlformats.org/drawingml/2006/main" xmlns:r="http://schemas.openxmlformats.org/officeDocument/2006/relationships" xmlns:p="http://schemas.openxmlformats.org/presentationml/2006/main">
  <p:tag name="ORIGINALMAINDECK" val="C:\ProgramData\PA Apps\SPARK\PowerPoint\Decks\PA Report (UK English - A4) [A4-ENUK].pptx"/>
  <p:tag name="ORIGINALDECKSLIDEID" val="\Subdecks\A4\04 - PA Report (UK English - A4) - Charts [A4].pptx?846"/>
  <p:tag name="UPDATED" val="02 Jan 18 at 12:00"/>
  <p:tag name="KEYWORDS" val="Charts | Percentage | Circle"/>
  <p:tag name="CATEGORY" val="Charts"/>
  <p:tag name="TITLE" val="Percentage Diagram – Doughnut centred"/>
  <p:tag name="VERIFYSHAPECOUNT" val="15"/>
  <p:tag name="VERIFYSHAPEPOSITION1" val="161.5872|47.12504|301.3|685.8749"/>
  <p:tag name="VERIFYSHAPECONTENT2" val="Text Placeholder 1|Percentage diagram"/>
  <p:tag name="VERIFYSHAPEPOSITION2" val="46.20961|47.1874|56.54039|685.7008"/>
  <p:tag name="VERIFYSHAPECONTENT3" val="Rectangle 23|23%"/>
  <p:tag name="VERIFYSHAPEPOSITION3" val="147.7056|571.1927|63.00937|108.0073"/>
  <p:tag name="VERIFYSHAPEPOSITION4" val="204.1566|473.6471|0|205.5529"/>
  <p:tag name="VERIFYSHAPECONTENT5" val="Rectangle 21|21%"/>
  <p:tag name="VERIFYSHAPEPOSITION5" val="274.0232|571.1927|63.00937|108.0073"/>
  <p:tag name="VERIFYSHAPEPOSITION6" val="330.4742|513.8824|0|165.3176"/>
  <p:tag name="VERIFYSHAPECONTENT7" val="Rectangle 26|16%"/>
  <p:tag name="VERIFYSHAPEPOSITION7" val="273.1056|103.8621|63.00937|108.0073"/>
  <p:tag name="VERIFYSHAPEPOSITION8" val="329.5566|103.8621|0|166.7294"/>
  <p:tag name="VERIFYSHAPECONTENT9" val="Rectangle 28|19%"/>
  <p:tag name="VERIFYSHAPEPOSITION9" val="362.682|571.1927|63.00937|108.0073"/>
  <p:tag name="VERIFYSHAPEPOSITION10" val="419.1331|432|0|247.2"/>
  <p:tag name="VERIFYSHAPECONTENT11" val="Rectangle 30|13%"/>
  <p:tag name="VERIFYSHAPEPOSITION11" val="205.6939|103.8621|63.00937|108.0073"/>
  <p:tag name="VERIFYSHAPEPOSITION12" val="262.1449|103.8621|0|165.785"/>
  <p:tag name="VERIFYSHAPECONTENT13" val="Rectangle 32|08%"/>
  <p:tag name="VERIFYSHAPEPOSITION13" val="147.7056|103.8621|63.00937|108.0073"/>
  <p:tag name="VERIFYSHAPEPOSITION14" val="204.1566|103.8621|0|239.9026"/>
  <p:tag name="VERIFYSHAPECONTENT15" val="Rectangle 20|This is the chart title"/>
  <p:tag name="VERIFYSHAPEPOSITION15" val="119.75|47.12504|20.38968|326.5695"/>
</p:tagLst>
</file>

<file path=ppt/theme/theme1.xml><?xml version="1.0" encoding="utf-8"?>
<a:theme xmlns:a="http://schemas.openxmlformats.org/drawingml/2006/main" name="1_blank">
  <a:themeElements>
    <a:clrScheme name="blank 1">
      <a:dk1>
        <a:srgbClr val="003E72"/>
      </a:dk1>
      <a:lt1>
        <a:srgbClr val="FFFFFF"/>
      </a:lt1>
      <a:dk2>
        <a:srgbClr val="FFFFFF"/>
      </a:dk2>
      <a:lt2>
        <a:srgbClr val="00B3BE"/>
      </a:lt2>
      <a:accent1>
        <a:srgbClr val="0073CF"/>
      </a:accent1>
      <a:accent2>
        <a:srgbClr val="E37222"/>
      </a:accent2>
      <a:accent3>
        <a:srgbClr val="FFFFFF"/>
      </a:accent3>
      <a:accent4>
        <a:srgbClr val="003460"/>
      </a:accent4>
      <a:accent5>
        <a:srgbClr val="AABCE4"/>
      </a:accent5>
      <a:accent6>
        <a:srgbClr val="CE671E"/>
      </a:accent6>
      <a:hlink>
        <a:srgbClr val="58A618"/>
      </a:hlink>
      <a:folHlink>
        <a:srgbClr val="8E258D"/>
      </a:folHlink>
    </a:clrScheme>
    <a:fontScheme name="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1"/>
        </a:solidFill>
        <a:ln w="76200">
          <a:solidFill>
            <a:schemeClr val="accent4"/>
          </a:solidFill>
          <a:round/>
          <a:headEnd/>
          <a:tailEnd/>
        </a:ln>
      </a:spPr>
      <a:bodyPr lIns="36000" tIns="36000" rIns="36000" bIns="36000"/>
      <a:lstStyle>
        <a:defPPr>
          <a:defRPr>
            <a:latin typeface="Arial" charset="0"/>
            <a:cs typeface="Arial" charset="0"/>
          </a:defRPr>
        </a:defPPr>
      </a:lstStyle>
    </a:spDef>
  </a:objectDefaults>
  <a:extraClrSchemeLst>
    <a:extraClrScheme>
      <a:clrScheme name="blank 1">
        <a:dk1>
          <a:srgbClr val="003E72"/>
        </a:dk1>
        <a:lt1>
          <a:srgbClr val="FFFFFF"/>
        </a:lt1>
        <a:dk2>
          <a:srgbClr val="FFFFFF"/>
        </a:dk2>
        <a:lt2>
          <a:srgbClr val="00B3BE"/>
        </a:lt2>
        <a:accent1>
          <a:srgbClr val="0073CF"/>
        </a:accent1>
        <a:accent2>
          <a:srgbClr val="E37222"/>
        </a:accent2>
        <a:accent3>
          <a:srgbClr val="FFFFFF"/>
        </a:accent3>
        <a:accent4>
          <a:srgbClr val="003460"/>
        </a:accent4>
        <a:accent5>
          <a:srgbClr val="AABCE4"/>
        </a:accent5>
        <a:accent6>
          <a:srgbClr val="CE671E"/>
        </a:accent6>
        <a:hlink>
          <a:srgbClr val="58A618"/>
        </a:hlink>
        <a:folHlink>
          <a:srgbClr val="8E258D"/>
        </a:folHlink>
      </a:clrScheme>
      <a:clrMap bg1="lt1" tx1="dk1" bg2="lt2" tx2="dk2" accent1="accent1" accent2="accent2" accent3="accent3" accent4="accent4" accent5="accent5" accent6="accent6" hlink="hlink" folHlink="folHlink"/>
    </a:extraClrScheme>
    <a:extraClrScheme>
      <a:clrScheme name="blank 2">
        <a:dk1>
          <a:srgbClr val="003E72"/>
        </a:dk1>
        <a:lt1>
          <a:srgbClr val="FFFFFF"/>
        </a:lt1>
        <a:dk2>
          <a:srgbClr val="FFFFFF"/>
        </a:dk2>
        <a:lt2>
          <a:srgbClr val="83AFB4"/>
        </a:lt2>
        <a:accent1>
          <a:srgbClr val="6AADE4"/>
        </a:accent1>
        <a:accent2>
          <a:srgbClr val="EFBD47"/>
        </a:accent2>
        <a:accent3>
          <a:srgbClr val="FFFFFF"/>
        </a:accent3>
        <a:accent4>
          <a:srgbClr val="003460"/>
        </a:accent4>
        <a:accent5>
          <a:srgbClr val="B9D3EF"/>
        </a:accent5>
        <a:accent6>
          <a:srgbClr val="D9AB3F"/>
        </a:accent6>
        <a:hlink>
          <a:srgbClr val="A8B400"/>
        </a:hlink>
        <a:folHlink>
          <a:srgbClr val="6A4061"/>
        </a:folHlink>
      </a:clrScheme>
      <a:clrMap bg1="lt1" tx1="dk1" bg2="lt2" tx2="dk2" accent1="accent1" accent2="accent2" accent3="accent3" accent4="accent4" accent5="accent5" accent6="accent6" hlink="hlink" folHlink="folHlink"/>
    </a:extraClrScheme>
    <a:extraClrScheme>
      <a:clrScheme name="blank 3">
        <a:dk1>
          <a:srgbClr val="003E72"/>
        </a:dk1>
        <a:lt1>
          <a:srgbClr val="FFFFFF"/>
        </a:lt1>
        <a:dk2>
          <a:srgbClr val="FFFFFF"/>
        </a:dk2>
        <a:lt2>
          <a:srgbClr val="156570"/>
        </a:lt2>
        <a:accent1>
          <a:srgbClr val="003E72"/>
        </a:accent1>
        <a:accent2>
          <a:srgbClr val="C84E00"/>
        </a:accent2>
        <a:accent3>
          <a:srgbClr val="FFFFFF"/>
        </a:accent3>
        <a:accent4>
          <a:srgbClr val="003460"/>
        </a:accent4>
        <a:accent5>
          <a:srgbClr val="AAAFBC"/>
        </a:accent5>
        <a:accent6>
          <a:srgbClr val="B54600"/>
        </a:accent6>
        <a:hlink>
          <a:srgbClr val="435125"/>
        </a:hlink>
        <a:folHlink>
          <a:srgbClr val="412D5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3_PA Consulting">
  <a:themeElements>
    <a:clrScheme name="PA - Light">
      <a:dk1>
        <a:srgbClr val="5D717F"/>
      </a:dk1>
      <a:lt1>
        <a:srgbClr val="FFFFFF"/>
      </a:lt1>
      <a:dk2>
        <a:srgbClr val="F5F8FA"/>
      </a:dk2>
      <a:lt2>
        <a:srgbClr val="3876BE"/>
      </a:lt2>
      <a:accent1>
        <a:srgbClr val="283846"/>
      </a:accent1>
      <a:accent2>
        <a:srgbClr val="40596F"/>
      </a:accent2>
      <a:accent3>
        <a:srgbClr val="6286A5"/>
      </a:accent3>
      <a:accent4>
        <a:srgbClr val="9AB1C5"/>
      </a:accent4>
      <a:accent5>
        <a:srgbClr val="C2D0DC"/>
      </a:accent5>
      <a:accent6>
        <a:srgbClr val="D7E0E8"/>
      </a:accent6>
      <a:hlink>
        <a:srgbClr val="5D717F"/>
      </a:hlink>
      <a:folHlink>
        <a:srgbClr val="5D71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noFill/>
        </a:ln>
      </a:spPr>
      <a:bodyPr rtlCol="0" anchor="ctr"/>
      <a:lstStyle>
        <a:defPPr algn="ctr">
          <a:defRPr sz="1400" smtClean="0"/>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noAutofit/>
      </a:bodyPr>
      <a:lstStyle>
        <a:defPPr>
          <a:defRPr sz="1100" dirty="0" err="1"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9348</TotalTime>
  <Words>1822</Words>
  <Application>Microsoft Office PowerPoint</Application>
  <PresentationFormat>On-screen Show (4:3)</PresentationFormat>
  <Paragraphs>456</Paragraphs>
  <Slides>47</Slides>
  <Notes>34</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47</vt:i4>
      </vt:variant>
    </vt:vector>
  </HeadingPairs>
  <TitlesOfParts>
    <vt:vector size="56" baseType="lpstr">
      <vt:lpstr>Arial</vt:lpstr>
      <vt:lpstr>Arial Narrow</vt:lpstr>
      <vt:lpstr>Calibri</vt:lpstr>
      <vt:lpstr>Symbol</vt:lpstr>
      <vt:lpstr>Times New Roman</vt:lpstr>
      <vt:lpstr>Wingdings</vt:lpstr>
      <vt:lpstr>1_blank</vt:lpstr>
      <vt:lpstr>3_PA Consulting</vt:lpstr>
      <vt:lpstr>think-cell Slide</vt:lpstr>
      <vt:lpstr>Financial Users Group  24 January 2020 </vt:lpstr>
      <vt:lpstr>Agenda</vt:lpstr>
      <vt:lpstr>Insurance and Risk   https://www.insurance.admin.cam.ac.uk    </vt:lpstr>
      <vt:lpstr>Known knowns</vt:lpstr>
      <vt:lpstr>Known Unknowns</vt:lpstr>
      <vt:lpstr>Unknown Unknowns</vt:lpstr>
      <vt:lpstr>Any questions?</vt:lpstr>
      <vt:lpstr>Finance Transformation Programme (FTP)   Discovery Phase Feedback Presentation to FUG    John Galvin, interim Head of FTP 24th January 2020  </vt:lpstr>
      <vt:lpstr>How have we engaged with the University?</vt:lpstr>
      <vt:lpstr>PowerPoint Presentation</vt:lpstr>
      <vt:lpstr>Internal Communications and Two-Way Engagement</vt:lpstr>
      <vt:lpstr>Summary of Findings</vt:lpstr>
      <vt:lpstr>PowerPoint Presentation</vt:lpstr>
      <vt:lpstr>PowerPoint Presentation</vt:lpstr>
      <vt:lpstr>PowerPoint Presentation</vt:lpstr>
      <vt:lpstr>PowerPoint Presentation</vt:lpstr>
      <vt:lpstr>Next Steps</vt:lpstr>
      <vt:lpstr>Pre-Approval Phase Work Streams</vt:lpstr>
      <vt:lpstr>CUFS User Review – AP, AR, GL, and Fixed Assets  Financial Users Group  </vt:lpstr>
      <vt:lpstr>CUFS User Review</vt:lpstr>
      <vt:lpstr>CUFS User Review</vt:lpstr>
      <vt:lpstr>ourcambridge and Finance Update  Financial Users Group 24 January 2020 </vt:lpstr>
      <vt:lpstr>What is it?</vt:lpstr>
      <vt:lpstr>AR customer sites (i.e. addresses)</vt:lpstr>
      <vt:lpstr>AR customer sites (i.e. addresses)</vt:lpstr>
      <vt:lpstr>AR customer sites (i.e. addresses)</vt:lpstr>
      <vt:lpstr>AR customer sites (i.e. addresses)</vt:lpstr>
      <vt:lpstr>AR customer set up</vt:lpstr>
      <vt:lpstr>AR screen clean up</vt:lpstr>
      <vt:lpstr>AR screen clean up</vt:lpstr>
      <vt:lpstr>AR screen clean up</vt:lpstr>
      <vt:lpstr>AR screen clean up</vt:lpstr>
      <vt:lpstr>AR screen clean up</vt:lpstr>
      <vt:lpstr>Internal invoices: AR to AP</vt:lpstr>
      <vt:lpstr>Internal invoices: AR to AP</vt:lpstr>
      <vt:lpstr>Finance web sites - searching</vt:lpstr>
      <vt:lpstr>Finance web sites - searching</vt:lpstr>
      <vt:lpstr>Finance web sites - searching</vt:lpstr>
      <vt:lpstr>Finance web sites - searching</vt:lpstr>
      <vt:lpstr>Finance web sites - searching</vt:lpstr>
      <vt:lpstr>2020 HALF-YEAR END</vt:lpstr>
      <vt:lpstr>Phishing</vt:lpstr>
      <vt:lpstr>Fraudulent Purchase Orders</vt:lpstr>
      <vt:lpstr>Questions?</vt:lpstr>
      <vt:lpstr>PowerPoint Presentation</vt:lpstr>
      <vt:lpstr>Taster sessions …</vt:lpstr>
      <vt:lpstr>Now I have got your attention …</vt:lpstr>
    </vt:vector>
  </TitlesOfParts>
  <Compan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dc:creator>
  <cp:lastModifiedBy>Michelle Bond</cp:lastModifiedBy>
  <cp:revision>1376</cp:revision>
  <cp:lastPrinted>2018-09-19T06:41:34Z</cp:lastPrinted>
  <dcterms:created xsi:type="dcterms:W3CDTF">2008-03-27T10:29:55Z</dcterms:created>
  <dcterms:modified xsi:type="dcterms:W3CDTF">2020-01-24T13:53:4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i4>1</vt:i4>
  </property>
</Properties>
</file>